
<file path=[Content_Types].xml><?xml version="1.0" encoding="utf-8"?>
<Types xmlns="http://schemas.openxmlformats.org/package/2006/content-types">
  <Default Extension="glb" ContentType="model/gltf.binary"/>
  <Default Extension="jfif" ContentType="image/jpeg"/>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slides/slide310.xml" ContentType="application/vnd.openxmlformats-officedocument.presentationml.slide+xml"/>
  <Override PartName="/ppt/slides/slide50.xml" ContentType="application/vnd.openxmlformats-officedocument.presentationml.slide+xml"/>
  <Override PartName="/ppt/slides/slide90.xml" ContentType="application/vnd.openxmlformats-officedocument.presentationml.slide+xml"/>
  <Override PartName="/ppt/slides/slide70.xml" ContentType="application/vnd.openxmlformats-officedocument.presentationml.slide+xml"/>
  <Override PartName="/ppt/slides/slide110.xml" ContentType="application/vnd.openxmlformats-officedocument.presentationml.slide+xml"/>
  <Override PartName="/ppt/slides/slide130.xml" ContentType="application/vnd.openxmlformats-officedocument.presentationml.slide+xml"/>
  <Override PartName="/ppt/slides/slide200.xml" ContentType="application/vnd.openxmlformats-officedocument.presentationml.slide+xml"/>
  <Override PartName="/ppt/slides/slide290.xml" ContentType="application/vnd.openxmlformats-officedocument.presentationml.slide+xml"/>
  <Override PartName="/ppt/notesSlides/notesSlide310.xml" ContentType="application/vnd.openxmlformats-officedocument.presentationml.notesSlide+xml"/>
  <Override PartName="/ppt/tags/tag1.xml" ContentType="application/vnd.openxmlformats-officedocument.presentationml.tags+xml"/>
  <Override PartName="/ppt/notesSlides/notesSlide50.xml" ContentType="application/vnd.openxmlformats-officedocument.presentationml.notesSlide+xml"/>
  <Override PartName="/ppt/notesSlides/notesSlide90.xml" ContentType="application/vnd.openxmlformats-officedocument.presentationml.notesSlide+xml"/>
  <Override PartName="/ppt/notesSlides/notesSlide70.xml" ContentType="application/vnd.openxmlformats-officedocument.presentationml.notesSlide+xml"/>
  <Override PartName="/ppt/notesSlides/notesSlide110.xml" ContentType="application/vnd.openxmlformats-officedocument.presentationml.notesSlide+xml"/>
  <Override PartName="/ppt/notesSlides/notesSlide130.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49"/>
  </p:notesMasterIdLst>
  <p:sldIdLst>
    <p:sldId id="292" r:id="rId3"/>
    <p:sldId id="280" r:id="rId4"/>
    <p:sldId id="352" r:id="rId5"/>
    <p:sldId id="353" r:id="rId6"/>
    <p:sldId id="286" r:id="rId7"/>
    <p:sldId id="306" r:id="rId8"/>
    <p:sldId id="284" r:id="rId9"/>
    <p:sldId id="302" r:id="rId10"/>
    <p:sldId id="288" r:id="rId11"/>
    <p:sldId id="328" r:id="rId12"/>
    <p:sldId id="293" r:id="rId13"/>
    <p:sldId id="327" r:id="rId14"/>
    <p:sldId id="349" r:id="rId15"/>
    <p:sldId id="347" r:id="rId16"/>
    <p:sldId id="330" r:id="rId17"/>
    <p:sldId id="348" r:id="rId18"/>
    <p:sldId id="362" r:id="rId19"/>
    <p:sldId id="331" r:id="rId20"/>
    <p:sldId id="351" r:id="rId21"/>
    <p:sldId id="295" r:id="rId22"/>
    <p:sldId id="304" r:id="rId23"/>
    <p:sldId id="333" r:id="rId24"/>
    <p:sldId id="334" r:id="rId25"/>
    <p:sldId id="335" r:id="rId26"/>
    <p:sldId id="336" r:id="rId27"/>
    <p:sldId id="344" r:id="rId28"/>
    <p:sldId id="345" r:id="rId29"/>
    <p:sldId id="346" r:id="rId30"/>
    <p:sldId id="297" r:id="rId31"/>
    <p:sldId id="337" r:id="rId32"/>
    <p:sldId id="338" r:id="rId33"/>
    <p:sldId id="298" r:id="rId34"/>
    <p:sldId id="315" r:id="rId35"/>
    <p:sldId id="323" r:id="rId36"/>
    <p:sldId id="354" r:id="rId37"/>
    <p:sldId id="355" r:id="rId38"/>
    <p:sldId id="356" r:id="rId39"/>
    <p:sldId id="357" r:id="rId40"/>
    <p:sldId id="358" r:id="rId41"/>
    <p:sldId id="359" r:id="rId42"/>
    <p:sldId id="360" r:id="rId43"/>
    <p:sldId id="361" r:id="rId44"/>
    <p:sldId id="299" r:id="rId45"/>
    <p:sldId id="314" r:id="rId46"/>
    <p:sldId id="322" r:id="rId47"/>
    <p:sldId id="325"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Home" id="{B875EA3A-0F3A-42D7-B6E2-7E1A05C2A3DA}">
          <p14:sldIdLst>
            <p14:sldId id="292"/>
            <p14:sldId id="280"/>
          </p14:sldIdLst>
        </p14:section>
        <p14:section name="Introduction" id="{88495344-40FB-4841-99CC-E364E4B3FA60}">
          <p14:sldIdLst>
            <p14:sldId id="352"/>
            <p14:sldId id="353"/>
          </p14:sldIdLst>
        </p14:section>
        <p14:section name="organisme" id="{89DC3976-4114-4C72-A3F7-CD5F9D4A7E2B}">
          <p14:sldIdLst>
            <p14:sldId id="286"/>
            <p14:sldId id="306"/>
          </p14:sldIdLst>
        </p14:section>
        <p14:section name="problem" id="{B0161835-6204-4266-8552-F3667AA67871}">
          <p14:sldIdLst>
            <p14:sldId id="284"/>
            <p14:sldId id="302"/>
          </p14:sldIdLst>
        </p14:section>
        <p14:section name="solution" id="{B78F869A-DB52-4C0F-9771-93BD0B0C77E6}">
          <p14:sldIdLst>
            <p14:sldId id="288"/>
            <p14:sldId id="328"/>
          </p14:sldIdLst>
        </p14:section>
        <p14:section name="besoins et methodologie" id="{8EDEC664-D3C4-4592-8786-C99AA6E5D5F4}">
          <p14:sldIdLst>
            <p14:sldId id="293"/>
            <p14:sldId id="327"/>
            <p14:sldId id="349"/>
            <p14:sldId id="347"/>
            <p14:sldId id="330"/>
            <p14:sldId id="348"/>
            <p14:sldId id="362"/>
            <p14:sldId id="331"/>
            <p14:sldId id="351"/>
          </p14:sldIdLst>
        </p14:section>
        <p14:section name="conception" id="{F496BB06-4A29-4BF5-BA77-B16347F04B8B}">
          <p14:sldIdLst>
            <p14:sldId id="295"/>
            <p14:sldId id="304"/>
            <p14:sldId id="333"/>
            <p14:sldId id="334"/>
            <p14:sldId id="335"/>
            <p14:sldId id="336"/>
            <p14:sldId id="344"/>
            <p14:sldId id="345"/>
            <p14:sldId id="346"/>
          </p14:sldIdLst>
        </p14:section>
        <p14:section name="Modernisation" id="{5F9BCD4A-9433-48A8-B291-287BE2581A63}">
          <p14:sldIdLst>
            <p14:sldId id="297"/>
            <p14:sldId id="337"/>
            <p14:sldId id="338"/>
            <p14:sldId id="298"/>
            <p14:sldId id="315"/>
            <p14:sldId id="323"/>
          </p14:sldIdLst>
        </p14:section>
        <p14:section name="techniques" id="{DAF8DABC-592A-4901-A0AC-5CDA09D8F45E}">
          <p14:sldIdLst>
            <p14:sldId id="354"/>
            <p14:sldId id="355"/>
            <p14:sldId id="356"/>
            <p14:sldId id="357"/>
            <p14:sldId id="358"/>
            <p14:sldId id="359"/>
            <p14:sldId id="360"/>
            <p14:sldId id="361"/>
          </p14:sldIdLst>
        </p14:section>
        <p14:section name="conclusion et perspectives" id="{98810976-D7DB-4275-9710-9A2889E2A734}">
          <p14:sldIdLst>
            <p14:sldId id="299"/>
            <p14:sldId id="314"/>
            <p14:sldId id="322"/>
          </p14:sldIdLst>
        </p14:section>
        <p14:section name="ferme" id="{30BC7722-3A91-4F69-9E32-975F3FA24D5A}">
          <p14:sldIdLst>
            <p14:sldId id="325"/>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hamed Benzarti" initials="MB" lastIdx="1" clrIdx="0">
    <p:extLst>
      <p:ext uri="{19B8F6BF-5375-455C-9EA6-DF929625EA0E}">
        <p15:presenceInfo xmlns:p15="http://schemas.microsoft.com/office/powerpoint/2012/main" userId="fa89ca2a6ff70cfa"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6180A"/>
    <a:srgbClr val="5AA1F1"/>
    <a:srgbClr val="47342D"/>
    <a:srgbClr val="00FFB3"/>
    <a:srgbClr val="00F1FF"/>
    <a:srgbClr val="FD6364"/>
    <a:srgbClr val="13378A"/>
    <a:srgbClr val="484525"/>
    <a:srgbClr val="FF99CC"/>
    <a:srgbClr val="0DA74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04" autoAdjust="0"/>
    <p:restoredTop sz="82976" autoAdjust="0"/>
  </p:normalViewPr>
  <p:slideViewPr>
    <p:cSldViewPr snapToGrid="0">
      <p:cViewPr varScale="1">
        <p:scale>
          <a:sx n="68" d="100"/>
          <a:sy n="68" d="100"/>
        </p:scale>
        <p:origin x="1253" y="53"/>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90001" cy="90001"/>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commentAuthors" Target="commen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C3AF2F-7BE3-498F-9766-58B5DA79A88E}" type="datetimeFigureOut">
              <a:rPr lang="en-GB" smtClean="0"/>
              <a:t>12/06/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727244-25DA-4FDD-ADED-482C09915D8A}" type="slidenum">
              <a:rPr lang="en-GB" smtClean="0"/>
              <a:t>‹N°›</a:t>
            </a:fld>
            <a:endParaRPr lang="en-GB"/>
          </a:p>
        </p:txBody>
      </p:sp>
    </p:spTree>
    <p:extLst>
      <p:ext uri="{BB962C8B-B14F-4D97-AF65-F5344CB8AC3E}">
        <p14:creationId xmlns:p14="http://schemas.microsoft.com/office/powerpoint/2010/main" val="29334666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0.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Bonjour à tous,</a:t>
            </a:r>
          </a:p>
          <a:p>
            <a:r>
              <a:rPr lang="fr-FR" dirty="0"/>
              <a:t>Merci aux membres du jury d’être là aujourd’hui, et merci aussi à toutes les personnes qui nous ont aidés pendant notre projet.</a:t>
            </a:r>
          </a:p>
          <a:p>
            <a:r>
              <a:rPr lang="fr-FR" dirty="0"/>
              <a:t>Nous sommes Adem </a:t>
            </a:r>
            <a:r>
              <a:rPr lang="fr-FR" dirty="0" err="1"/>
              <a:t>Hamroun</a:t>
            </a:r>
            <a:r>
              <a:rPr lang="fr-FR" dirty="0"/>
              <a:t> et Khaled Abdellatif , étudiants en informatique de gestion à l’ESEN.</a:t>
            </a:r>
          </a:p>
        </p:txBody>
      </p:sp>
      <p:sp>
        <p:nvSpPr>
          <p:cNvPr id="4" name="Slide Number Placeholder 3"/>
          <p:cNvSpPr>
            <a:spLocks noGrp="1"/>
          </p:cNvSpPr>
          <p:nvPr>
            <p:ph type="sldNum" sz="quarter" idx="5"/>
          </p:nvPr>
        </p:nvSpPr>
        <p:spPr/>
        <p:txBody>
          <a:bodyPr/>
          <a:lstStyle/>
          <a:p>
            <a:fld id="{80727244-25DA-4FDD-ADED-482C09915D8A}" type="slidenum">
              <a:rPr lang="en-GB" smtClean="0"/>
              <a:t>1</a:t>
            </a:fld>
            <a:endParaRPr lang="en-GB"/>
          </a:p>
        </p:txBody>
      </p:sp>
    </p:spTree>
    <p:extLst>
      <p:ext uri="{BB962C8B-B14F-4D97-AF65-F5344CB8AC3E}">
        <p14:creationId xmlns:p14="http://schemas.microsoft.com/office/powerpoint/2010/main" val="18796722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7F379F-77A1-4239-7BCC-2E9DA4B067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CD85DB-94E4-9601-EA22-25A89C078E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0B1F74-4E99-0D3D-AB3D-8BCB593CA88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err="1"/>
              <a:t>Khaled:</a:t>
            </a:r>
            <a:r>
              <a:rPr lang="fr-FR" dirty="0" err="1">
                <a:effectLst/>
              </a:rPr>
              <a:t>Notre</a:t>
            </a:r>
            <a:r>
              <a:rPr lang="fr-FR" dirty="0">
                <a:effectLst/>
              </a:rPr>
              <a:t> projet soutient aussi le développement durab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TN" dirty="0"/>
          </a:p>
        </p:txBody>
      </p:sp>
      <p:sp>
        <p:nvSpPr>
          <p:cNvPr id="4" name="Slide Number Placeholder 3">
            <a:extLst>
              <a:ext uri="{FF2B5EF4-FFF2-40B4-BE49-F238E27FC236}">
                <a16:creationId xmlns:a16="http://schemas.microsoft.com/office/drawing/2014/main" id="{D5C0F775-2A31-D4E0-7FFC-2030801AB58D}"/>
              </a:ext>
            </a:extLst>
          </p:cNvPr>
          <p:cNvSpPr>
            <a:spLocks noGrp="1"/>
          </p:cNvSpPr>
          <p:nvPr>
            <p:ph type="sldNum" sz="quarter" idx="5"/>
          </p:nvPr>
        </p:nvSpPr>
        <p:spPr/>
        <p:txBody>
          <a:bodyPr/>
          <a:lstStyle/>
          <a:p>
            <a:fld id="{80727244-25DA-4FDD-ADED-482C09915D8A}" type="slidenum">
              <a:rPr lang="en-GB" smtClean="0"/>
              <a:t>10</a:t>
            </a:fld>
            <a:endParaRPr lang="en-GB"/>
          </a:p>
        </p:txBody>
      </p:sp>
    </p:spTree>
    <p:extLst>
      <p:ext uri="{BB962C8B-B14F-4D97-AF65-F5344CB8AC3E}">
        <p14:creationId xmlns:p14="http://schemas.microsoft.com/office/powerpoint/2010/main" val="35916021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a:t>Zahia:</a:t>
            </a:r>
          </a:p>
          <a:p>
            <a:r>
              <a:rPr lang="fr-FR" dirty="0"/>
              <a:t>En phase de conception, nous avons modélisé notre application avec des diagrammes de cas d'utilisation pour définir toutes les interactions possibles de l'auditeur</a:t>
            </a:r>
            <a:endParaRPr lang="fr-TN" dirty="0"/>
          </a:p>
          <a:p>
            <a:endParaRPr lang="fr-TN" dirty="0"/>
          </a:p>
        </p:txBody>
      </p:sp>
      <p:sp>
        <p:nvSpPr>
          <p:cNvPr id="4" name="Slide Number Placeholder 3"/>
          <p:cNvSpPr>
            <a:spLocks noGrp="1"/>
          </p:cNvSpPr>
          <p:nvPr>
            <p:ph type="sldNum" sz="quarter" idx="5"/>
          </p:nvPr>
        </p:nvSpPr>
        <p:spPr/>
        <p:txBody>
          <a:bodyPr/>
          <a:lstStyle/>
          <a:p>
            <a:fld id="{80727244-25DA-4FDD-ADED-482C09915D8A}" type="slidenum">
              <a:rPr lang="en-GB" smtClean="0"/>
              <a:t>11</a:t>
            </a:fld>
            <a:endParaRPr lang="en-GB"/>
          </a:p>
        </p:txBody>
      </p:sp>
    </p:spTree>
    <p:extLst>
      <p:ext uri="{BB962C8B-B14F-4D97-AF65-F5344CB8AC3E}">
        <p14:creationId xmlns:p14="http://schemas.microsoft.com/office/powerpoint/2010/main" val="158638984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Amir :</a:t>
            </a:r>
          </a:p>
          <a:p>
            <a:r>
              <a:rPr lang="fr-FR" dirty="0"/>
              <a:t>Pour développer AuditLynk, nous avons d'abord défini les besoins fonctionnels, comme l'authentification ou la transcription, mais aussi les besoins non fonctionnels, comme la performance, la disponibilité et l'ergonomie, qui sont essentiels pour garantir une application fiable et agréable à utiliser sur le terrain.</a:t>
            </a:r>
            <a:endParaRPr lang="fr-TN" dirty="0"/>
          </a:p>
        </p:txBody>
      </p:sp>
      <p:sp>
        <p:nvSpPr>
          <p:cNvPr id="4" name="Slide Number Placeholder 3"/>
          <p:cNvSpPr>
            <a:spLocks noGrp="1"/>
          </p:cNvSpPr>
          <p:nvPr>
            <p:ph type="sldNum" sz="quarter" idx="5"/>
          </p:nvPr>
        </p:nvSpPr>
        <p:spPr/>
        <p:txBody>
          <a:bodyPr/>
          <a:lstStyle/>
          <a:p>
            <a:fld id="{80727244-25DA-4FDD-ADED-482C09915D8A}" type="slidenum">
              <a:rPr lang="en-GB" smtClean="0"/>
              <a:t>11</a:t>
            </a:fld>
            <a:endParaRPr lang="en-GB"/>
          </a:p>
        </p:txBody>
      </p:sp>
    </p:spTree>
    <p:extLst>
      <p:ext uri="{BB962C8B-B14F-4D97-AF65-F5344CB8AC3E}">
        <p14:creationId xmlns:p14="http://schemas.microsoft.com/office/powerpoint/2010/main" val="34727077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kern="1200" dirty="0">
                <a:solidFill>
                  <a:schemeClr val="tx1"/>
                </a:solidFill>
                <a:effectLst/>
                <a:latin typeface="+mn-lt"/>
                <a:ea typeface="+mn-ea"/>
                <a:cs typeface="+mn-cs"/>
              </a:rPr>
              <a:t>Maintenant que le contexte est claire ,on  passons à notre étude de marché, dont le but de prouver que notre projet repose sur une analyse approfondie de l’environnement. </a:t>
            </a:r>
          </a:p>
          <a:p>
            <a:r>
              <a:rPr lang="fr-FR" sz="1200" kern="1200" dirty="0">
                <a:solidFill>
                  <a:schemeClr val="tx1"/>
                </a:solidFill>
                <a:effectLst/>
                <a:latin typeface="+mn-lt"/>
                <a:ea typeface="+mn-ea"/>
                <a:cs typeface="+mn-cs"/>
              </a:rPr>
              <a:t>*Sur les plans économique et socioculturel </a:t>
            </a:r>
            <a:r>
              <a:rPr lang="fr-FR" sz="1200" b="1" kern="1200" dirty="0">
                <a:solidFill>
                  <a:schemeClr val="tx1"/>
                </a:solidFill>
                <a:effectLst/>
                <a:latin typeface="+mn-lt"/>
                <a:ea typeface="+mn-ea"/>
                <a:cs typeface="+mn-cs"/>
              </a:rPr>
              <a:t>on peut avoir  l’intérêt croissant pour les séjours et activités locales</a:t>
            </a:r>
            <a:r>
              <a:rPr lang="fr-FR" sz="1200" kern="1200" dirty="0">
                <a:solidFill>
                  <a:schemeClr val="tx1"/>
                </a:solidFill>
                <a:effectLst/>
                <a:latin typeface="+mn-lt"/>
                <a:ea typeface="+mn-ea"/>
                <a:cs typeface="+mn-cs"/>
              </a:rPr>
              <a:t>                                                                                                                                                                        * Sur les plans Technologique on  avoir une  </a:t>
            </a:r>
            <a:r>
              <a:rPr lang="fr-FR" sz="1200" b="1" kern="1200" dirty="0">
                <a:solidFill>
                  <a:schemeClr val="tx1"/>
                </a:solidFill>
                <a:effectLst/>
                <a:latin typeface="+mn-lt"/>
                <a:ea typeface="+mn-ea"/>
                <a:cs typeface="+mn-cs"/>
              </a:rPr>
              <a:t>large utilisation des téléphones mobiles en Tunisie confirme la </a:t>
            </a:r>
            <a:r>
              <a:rPr lang="fr-FR" sz="1200" b="1" kern="1200" dirty="0" err="1">
                <a:solidFill>
                  <a:schemeClr val="tx1"/>
                </a:solidFill>
                <a:effectLst/>
                <a:latin typeface="+mn-lt"/>
                <a:ea typeface="+mn-ea"/>
                <a:cs typeface="+mn-cs"/>
              </a:rPr>
              <a:t>efficacite</a:t>
            </a:r>
            <a:r>
              <a:rPr lang="fr-FR" sz="1200" b="1" kern="1200" dirty="0">
                <a:solidFill>
                  <a:schemeClr val="tx1"/>
                </a:solidFill>
                <a:effectLst/>
                <a:latin typeface="+mn-lt"/>
                <a:ea typeface="+mn-ea"/>
                <a:cs typeface="+mn-cs"/>
              </a:rPr>
              <a:t> de notre solution</a:t>
            </a:r>
            <a:r>
              <a:rPr lang="fr-FR" sz="1200" kern="1200" dirty="0">
                <a:solidFill>
                  <a:schemeClr val="tx1"/>
                </a:solidFill>
                <a:effectLst/>
                <a:latin typeface="+mn-lt"/>
                <a:ea typeface="+mn-ea"/>
                <a:cs typeface="+mn-cs"/>
              </a:rPr>
              <a:t>                                                                                                                           *Enfin, le Plan écologique montre leur  </a:t>
            </a:r>
            <a:r>
              <a:rPr lang="fr-FR" sz="1200" b="1" kern="1200" dirty="0">
                <a:solidFill>
                  <a:schemeClr val="tx1"/>
                </a:solidFill>
                <a:effectLst/>
                <a:latin typeface="+mn-lt"/>
                <a:ea typeface="+mn-ea"/>
                <a:cs typeface="+mn-cs"/>
              </a:rPr>
              <a:t>importance par  une demande croissante pour un tourisme Durable</a:t>
            </a:r>
            <a:r>
              <a:rPr lang="fr-FR" sz="1200" kern="1200" dirty="0">
                <a:solidFill>
                  <a:schemeClr val="tx1"/>
                </a:solidFill>
                <a:effectLst/>
                <a:latin typeface="+mn-lt"/>
                <a:ea typeface="+mn-ea"/>
                <a:cs typeface="+mn-cs"/>
              </a:rPr>
              <a:t>.</a:t>
            </a:r>
          </a:p>
          <a:p>
            <a:endParaRPr lang="fr-FR" dirty="0"/>
          </a:p>
        </p:txBody>
      </p:sp>
      <p:sp>
        <p:nvSpPr>
          <p:cNvPr id="4" name="Espace réservé du numéro de diapositive 3"/>
          <p:cNvSpPr>
            <a:spLocks noGrp="1"/>
          </p:cNvSpPr>
          <p:nvPr>
            <p:ph type="sldNum" sz="quarter" idx="5"/>
          </p:nvPr>
        </p:nvSpPr>
        <p:spPr/>
        <p:txBody>
          <a:bodyPr/>
          <a:lstStyle/>
          <a:p>
            <a:fld id="{80727244-25DA-4FDD-ADED-482C09915D8A}" type="slidenum">
              <a:rPr lang="en-GB" smtClean="0"/>
              <a:t>12</a:t>
            </a:fld>
            <a:endParaRPr lang="en-GB"/>
          </a:p>
        </p:txBody>
      </p:sp>
    </p:spTree>
    <p:extLst>
      <p:ext uri="{BB962C8B-B14F-4D97-AF65-F5344CB8AC3E}">
        <p14:creationId xmlns:p14="http://schemas.microsoft.com/office/powerpoint/2010/main" val="19010903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5A3B6B-4B3F-1E4E-CA25-860A22B9C12C}"/>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B95E22F9-003C-A817-64E3-A87E88448E41}"/>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9B8BE926-5A05-708B-EB2B-171EE61220B1}"/>
              </a:ext>
            </a:extLst>
          </p:cNvPr>
          <p:cNvSpPr>
            <a:spLocks noGrp="1"/>
          </p:cNvSpPr>
          <p:nvPr>
            <p:ph type="body" idx="1"/>
          </p:nvPr>
        </p:nvSpPr>
        <p:spPr/>
        <p:txBody>
          <a:bodyPr/>
          <a:lstStyle/>
          <a:p>
            <a:r>
              <a:rPr lang="fr-FR" sz="1200" b="1" kern="1200" dirty="0">
                <a:solidFill>
                  <a:schemeClr val="tx1"/>
                </a:solidFill>
                <a:effectLst/>
                <a:latin typeface="+mn-lt"/>
                <a:ea typeface="+mn-ea"/>
                <a:cs typeface="+mn-cs"/>
              </a:rPr>
              <a:t>Après cette vue, nous avons zoomé sur notre environnement direct : nos concurrents et nos futurs clients</a:t>
            </a:r>
            <a:r>
              <a:rPr lang="fr-FR" sz="1200" kern="1200" dirty="0">
                <a:solidFill>
                  <a:schemeClr val="tx1"/>
                </a:solidFill>
                <a:effectLst/>
                <a:latin typeface="+mn-lt"/>
                <a:ea typeface="+mn-ea"/>
                <a:cs typeface="+mn-cs"/>
              </a:rPr>
              <a:t>.</a:t>
            </a:r>
          </a:p>
          <a:p>
            <a:r>
              <a:rPr lang="fr-FR" sz="1200" kern="1200" dirty="0">
                <a:solidFill>
                  <a:schemeClr val="tx1"/>
                </a:solidFill>
                <a:effectLst/>
                <a:latin typeface="+mn-lt"/>
                <a:ea typeface="+mn-ea"/>
                <a:cs typeface="+mn-cs"/>
              </a:rPr>
              <a:t>Sur le marché, notre concurrent direct est </a:t>
            </a:r>
            <a:r>
              <a:rPr lang="fr-FR" sz="1200" kern="1200" dirty="0" err="1">
                <a:solidFill>
                  <a:schemeClr val="tx1"/>
                </a:solidFill>
                <a:effectLst/>
                <a:latin typeface="+mn-lt"/>
                <a:ea typeface="+mn-ea"/>
                <a:cs typeface="+mn-cs"/>
              </a:rPr>
              <a:t>Tuniboat</a:t>
            </a:r>
            <a:r>
              <a:rPr lang="fr-FR" sz="1200" kern="1200" dirty="0">
                <a:solidFill>
                  <a:schemeClr val="tx1"/>
                </a:solidFill>
                <a:effectLst/>
                <a:latin typeface="+mn-lt"/>
                <a:ea typeface="+mn-ea"/>
                <a:cs typeface="+mn-cs"/>
              </a:rPr>
              <a:t>, qui propose uniquement la location de bateaux. C’est une bonne idée, mais elle ne couvre ni les cabanes ni les autres activités de plage</a:t>
            </a:r>
          </a:p>
          <a:p>
            <a:endParaRPr lang="fr-FR" dirty="0"/>
          </a:p>
        </p:txBody>
      </p:sp>
      <p:sp>
        <p:nvSpPr>
          <p:cNvPr id="4" name="Espace réservé du numéro de diapositive 3">
            <a:extLst>
              <a:ext uri="{FF2B5EF4-FFF2-40B4-BE49-F238E27FC236}">
                <a16:creationId xmlns:a16="http://schemas.microsoft.com/office/drawing/2014/main" id="{A8E1E7F2-541F-ACC9-39FB-AF33CC016526}"/>
              </a:ext>
            </a:extLst>
          </p:cNvPr>
          <p:cNvSpPr>
            <a:spLocks noGrp="1"/>
          </p:cNvSpPr>
          <p:nvPr>
            <p:ph type="sldNum" sz="quarter" idx="5"/>
          </p:nvPr>
        </p:nvSpPr>
        <p:spPr/>
        <p:txBody>
          <a:bodyPr/>
          <a:lstStyle/>
          <a:p>
            <a:fld id="{80727244-25DA-4FDD-ADED-482C09915D8A}" type="slidenum">
              <a:rPr lang="en-GB" smtClean="0"/>
              <a:t>14</a:t>
            </a:fld>
            <a:endParaRPr lang="en-GB"/>
          </a:p>
        </p:txBody>
      </p:sp>
    </p:spTree>
    <p:extLst>
      <p:ext uri="{BB962C8B-B14F-4D97-AF65-F5344CB8AC3E}">
        <p14:creationId xmlns:p14="http://schemas.microsoft.com/office/powerpoint/2010/main" val="3583218564"/>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a:t>Zahia:</a:t>
            </a:r>
          </a:p>
          <a:p>
            <a:r>
              <a:rPr lang="fr-FR" dirty="0"/>
              <a:t>En phase de conception, nous avons modélisé notre application avec des diagrammes de cas d'utilisation pour définir toutes les interactions possibles de l'auditeur</a:t>
            </a:r>
            <a:endParaRPr lang="fr-TN" dirty="0"/>
          </a:p>
          <a:p>
            <a:endParaRPr lang="fr-TN" dirty="0"/>
          </a:p>
        </p:txBody>
      </p:sp>
      <p:sp>
        <p:nvSpPr>
          <p:cNvPr id="4" name="Slide Number Placeholder 3"/>
          <p:cNvSpPr>
            <a:spLocks noGrp="1"/>
          </p:cNvSpPr>
          <p:nvPr>
            <p:ph type="sldNum" sz="quarter" idx="5"/>
          </p:nvPr>
        </p:nvSpPr>
        <p:spPr/>
        <p:txBody>
          <a:bodyPr/>
          <a:lstStyle/>
          <a:p>
            <a:fld id="{80727244-25DA-4FDD-ADED-482C09915D8A}" type="slidenum">
              <a:rPr lang="en-GB" smtClean="0"/>
              <a:t>13</a:t>
            </a:fld>
            <a:endParaRPr lang="en-GB"/>
          </a:p>
        </p:txBody>
      </p:sp>
    </p:spTree>
    <p:extLst>
      <p:ext uri="{BB962C8B-B14F-4D97-AF65-F5344CB8AC3E}">
        <p14:creationId xmlns:p14="http://schemas.microsoft.com/office/powerpoint/2010/main" val="5954355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51402C-AB44-8F27-1957-2BA78B31148D}"/>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9D41736A-06A0-4034-8AAE-146F0FEF7468}"/>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46B027D0-0683-5ECF-91FA-3771315042AC}"/>
              </a:ext>
            </a:extLst>
          </p:cNvPr>
          <p:cNvSpPr>
            <a:spLocks noGrp="1"/>
          </p:cNvSpPr>
          <p:nvPr>
            <p:ph type="body" idx="1"/>
          </p:nvPr>
        </p:nvSpPr>
        <p:spPr/>
        <p:txBody>
          <a:bodyPr/>
          <a:lstStyle/>
          <a:p>
            <a:r>
              <a:rPr lang="fr-FR" sz="1200" kern="1200" dirty="0">
                <a:solidFill>
                  <a:schemeClr val="tx1"/>
                </a:solidFill>
                <a:effectLst/>
                <a:latin typeface="+mn-lt"/>
                <a:ea typeface="+mn-ea"/>
                <a:cs typeface="+mn-cs"/>
              </a:rPr>
              <a:t>Nos concurrents potentiels incluent Airbnb, spécialisé dans le logement et </a:t>
            </a:r>
            <a:r>
              <a:rPr lang="fr-FR" sz="1200" kern="1200" dirty="0" err="1">
                <a:solidFill>
                  <a:schemeClr val="tx1"/>
                </a:solidFill>
                <a:effectLst/>
                <a:latin typeface="+mn-lt"/>
                <a:ea typeface="+mn-ea"/>
                <a:cs typeface="+mn-cs"/>
              </a:rPr>
              <a:t>TunisieBooking</a:t>
            </a:r>
            <a:r>
              <a:rPr lang="fr-FR" sz="1200" kern="1200" dirty="0">
                <a:solidFill>
                  <a:schemeClr val="tx1"/>
                </a:solidFill>
                <a:effectLst/>
                <a:latin typeface="+mn-lt"/>
                <a:ea typeface="+mn-ea"/>
                <a:cs typeface="+mn-cs"/>
              </a:rPr>
              <a:t>, qui se concentre sur les hôtels. Aucun de ces acteurs ne couvre l’ensemble des loisirs </a:t>
            </a:r>
            <a:r>
              <a:rPr lang="fr-FR" sz="1200" kern="1200" dirty="0" err="1">
                <a:solidFill>
                  <a:schemeClr val="tx1"/>
                </a:solidFill>
                <a:effectLst/>
                <a:latin typeface="+mn-lt"/>
                <a:ea typeface="+mn-ea"/>
                <a:cs typeface="+mn-cs"/>
              </a:rPr>
              <a:t>balnéaires.mais</a:t>
            </a:r>
            <a:r>
              <a:rPr lang="fr-FR" sz="1200" kern="1200" dirty="0">
                <a:solidFill>
                  <a:schemeClr val="tx1"/>
                </a:solidFill>
                <a:effectLst/>
                <a:latin typeface="+mn-lt"/>
                <a:ea typeface="+mn-ea"/>
                <a:cs typeface="+mn-cs"/>
              </a:rPr>
              <a:t> ils peut le ajoute a l avenir</a:t>
            </a:r>
          </a:p>
          <a:p>
            <a:br>
              <a:rPr lang="fr-FR" sz="1200" b="0" i="0" kern="1200" dirty="0">
                <a:solidFill>
                  <a:schemeClr val="tx1"/>
                </a:solidFill>
                <a:effectLst/>
                <a:latin typeface="+mn-lt"/>
                <a:ea typeface="+mn-ea"/>
                <a:cs typeface="+mn-cs"/>
              </a:rPr>
            </a:br>
            <a:endParaRPr lang="fr-FR" dirty="0"/>
          </a:p>
        </p:txBody>
      </p:sp>
      <p:sp>
        <p:nvSpPr>
          <p:cNvPr id="4" name="Espace réservé du numéro de diapositive 3">
            <a:extLst>
              <a:ext uri="{FF2B5EF4-FFF2-40B4-BE49-F238E27FC236}">
                <a16:creationId xmlns:a16="http://schemas.microsoft.com/office/drawing/2014/main" id="{4B513614-28B5-A6BA-E172-B5CD22C599A9}"/>
              </a:ext>
            </a:extLst>
          </p:cNvPr>
          <p:cNvSpPr>
            <a:spLocks noGrp="1"/>
          </p:cNvSpPr>
          <p:nvPr>
            <p:ph type="sldNum" sz="quarter" idx="5"/>
          </p:nvPr>
        </p:nvSpPr>
        <p:spPr/>
        <p:txBody>
          <a:bodyPr/>
          <a:lstStyle/>
          <a:p>
            <a:fld id="{80727244-25DA-4FDD-ADED-482C09915D8A}" type="slidenum">
              <a:rPr lang="en-GB" smtClean="0"/>
              <a:t>15</a:t>
            </a:fld>
            <a:endParaRPr lang="en-GB"/>
          </a:p>
        </p:txBody>
      </p:sp>
    </p:spTree>
    <p:extLst>
      <p:ext uri="{BB962C8B-B14F-4D97-AF65-F5344CB8AC3E}">
        <p14:creationId xmlns:p14="http://schemas.microsoft.com/office/powerpoint/2010/main" val="6569042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C58BBF-E8FB-014F-CE7F-C9C1E37E8BB9}"/>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0199CCF2-5AE7-F6BB-3690-FD4E7949E6C1}"/>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7820BB0E-F451-8506-3637-F1348B3350D6}"/>
              </a:ext>
            </a:extLst>
          </p:cNvPr>
          <p:cNvSpPr>
            <a:spLocks noGrp="1"/>
          </p:cNvSpPr>
          <p:nvPr>
            <p:ph type="body" idx="1"/>
          </p:nvPr>
        </p:nvSpPr>
        <p:spPr/>
        <p:txBody>
          <a:bodyPr/>
          <a:lstStyle/>
          <a:p>
            <a:r>
              <a:rPr lang="fr-FR" sz="1200" kern="1200" dirty="0" err="1">
                <a:solidFill>
                  <a:schemeClr val="tx1"/>
                </a:solidFill>
                <a:effectLst/>
                <a:latin typeface="+mn-lt"/>
                <a:ea typeface="+mn-ea"/>
                <a:cs typeface="+mn-cs"/>
              </a:rPr>
              <a:t>Cabinoo</a:t>
            </a:r>
            <a:r>
              <a:rPr lang="fr-FR" sz="1200" kern="1200" dirty="0">
                <a:solidFill>
                  <a:schemeClr val="tx1"/>
                </a:solidFill>
                <a:effectLst/>
                <a:latin typeface="+mn-lt"/>
                <a:ea typeface="+mn-ea"/>
                <a:cs typeface="+mn-cs"/>
              </a:rPr>
              <a:t> offre une solution locale unique, avec une gamme variée de services et des paiements flexibles, ce qui constitue son principal avantage compétitif.</a:t>
            </a:r>
          </a:p>
        </p:txBody>
      </p:sp>
      <p:sp>
        <p:nvSpPr>
          <p:cNvPr id="4" name="Espace réservé du numéro de diapositive 3">
            <a:extLst>
              <a:ext uri="{FF2B5EF4-FFF2-40B4-BE49-F238E27FC236}">
                <a16:creationId xmlns:a16="http://schemas.microsoft.com/office/drawing/2014/main" id="{A339B577-3E3C-16E3-8025-8BE7D1A1B1EA}"/>
              </a:ext>
            </a:extLst>
          </p:cNvPr>
          <p:cNvSpPr>
            <a:spLocks noGrp="1"/>
          </p:cNvSpPr>
          <p:nvPr>
            <p:ph type="sldNum" sz="quarter" idx="5"/>
          </p:nvPr>
        </p:nvSpPr>
        <p:spPr/>
        <p:txBody>
          <a:bodyPr/>
          <a:lstStyle/>
          <a:p>
            <a:fld id="{80727244-25DA-4FDD-ADED-482C09915D8A}" type="slidenum">
              <a:rPr lang="en-GB" smtClean="0"/>
              <a:t>16</a:t>
            </a:fld>
            <a:endParaRPr lang="en-GB"/>
          </a:p>
        </p:txBody>
      </p:sp>
    </p:spTree>
    <p:extLst>
      <p:ext uri="{BB962C8B-B14F-4D97-AF65-F5344CB8AC3E}">
        <p14:creationId xmlns:p14="http://schemas.microsoft.com/office/powerpoint/2010/main" val="5015972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our valider nos hypothèses Nous avons réalisé une enquête sur le terrain.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Un pour les clients, avec 15 questions sur </a:t>
            </a:r>
            <a:r>
              <a:rPr lang="fr-FR" b="1" dirty="0"/>
              <a:t>leurs habitudes et leurs besoin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 Un autre pour les prestataires, avec 11 questions </a:t>
            </a:r>
            <a:r>
              <a:rPr lang="fr-FR" b="1" dirty="0"/>
              <a:t>sur leur organisation et leurs difficultés</a:t>
            </a:r>
            <a:r>
              <a:rPr lang="fr-FR" dirty="0"/>
              <a:t>,</a:t>
            </a:r>
          </a:p>
          <a:p>
            <a:endParaRPr lang="fr-FR" dirty="0"/>
          </a:p>
        </p:txBody>
      </p:sp>
      <p:sp>
        <p:nvSpPr>
          <p:cNvPr id="4" name="Espace réservé du numéro de diapositive 3"/>
          <p:cNvSpPr>
            <a:spLocks noGrp="1"/>
          </p:cNvSpPr>
          <p:nvPr>
            <p:ph type="sldNum" sz="quarter" idx="5"/>
          </p:nvPr>
        </p:nvSpPr>
        <p:spPr/>
        <p:txBody>
          <a:bodyPr/>
          <a:lstStyle/>
          <a:p>
            <a:fld id="{80727244-25DA-4FDD-ADED-482C09915D8A}" type="slidenum">
              <a:rPr lang="en-GB" smtClean="0"/>
              <a:t>17</a:t>
            </a:fld>
            <a:endParaRPr lang="en-GB"/>
          </a:p>
        </p:txBody>
      </p:sp>
    </p:spTree>
    <p:extLst>
      <p:ext uri="{BB962C8B-B14F-4D97-AF65-F5344CB8AC3E}">
        <p14:creationId xmlns:p14="http://schemas.microsoft.com/office/powerpoint/2010/main" val="6696404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CBDDB7-C352-7CD4-E5A1-05666724D815}"/>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DC1CE3FC-BEDA-28A9-6C82-25773CEF1EA5}"/>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468FC8D8-D5D8-A37D-1D1C-CFE51D5FB094}"/>
              </a:ext>
            </a:extLst>
          </p:cNvPr>
          <p:cNvSpPr>
            <a:spLocks noGrp="1"/>
          </p:cNvSpPr>
          <p:nvPr>
            <p:ph type="body" idx="1"/>
          </p:nvPr>
        </p:nvSpPr>
        <p:spPr/>
        <p:txBody>
          <a:bodyPr/>
          <a:lstStyle/>
          <a:p>
            <a:r>
              <a:rPr lang="fr-FR" dirty="0"/>
              <a:t>Nous avons utilisé les résultats des deux enquêtes pour confirmer les besoins que </a:t>
            </a:r>
            <a:r>
              <a:rPr lang="fr-FR" dirty="0" err="1"/>
              <a:t>Cabinoo</a:t>
            </a:r>
            <a:r>
              <a:rPr lang="fr-FR" dirty="0"/>
              <a:t> cherche à résoudre.</a:t>
            </a:r>
          </a:p>
          <a:p>
            <a:r>
              <a:rPr lang="fr-FR" dirty="0"/>
              <a:t>Les réponses des clients nous ont aidés à savoir </a:t>
            </a:r>
            <a:r>
              <a:rPr lang="fr-FR" b="1" dirty="0"/>
              <a:t>qui on vise</a:t>
            </a:r>
            <a:r>
              <a:rPr lang="fr-FR" dirty="0"/>
              <a:t> avec </a:t>
            </a:r>
            <a:r>
              <a:rPr lang="fr-FR" dirty="0" err="1"/>
              <a:t>Cabinoo</a:t>
            </a:r>
            <a:r>
              <a:rPr lang="fr-FR" dirty="0"/>
              <a:t> : surtout des jeunes. Cela nous a permis de bien </a:t>
            </a:r>
            <a:r>
              <a:rPr lang="fr-FR" b="1" dirty="0"/>
              <a:t>définir notre public cible</a:t>
            </a:r>
            <a:r>
              <a:rPr lang="fr-FR" dirty="0"/>
              <a:t>.</a:t>
            </a:r>
          </a:p>
        </p:txBody>
      </p:sp>
      <p:sp>
        <p:nvSpPr>
          <p:cNvPr id="4" name="Espace réservé du numéro de diapositive 3">
            <a:extLst>
              <a:ext uri="{FF2B5EF4-FFF2-40B4-BE49-F238E27FC236}">
                <a16:creationId xmlns:a16="http://schemas.microsoft.com/office/drawing/2014/main" id="{8AD3BD04-B88C-0598-568D-88F21005241E}"/>
              </a:ext>
            </a:extLst>
          </p:cNvPr>
          <p:cNvSpPr>
            <a:spLocks noGrp="1"/>
          </p:cNvSpPr>
          <p:nvPr>
            <p:ph type="sldNum" sz="quarter" idx="5"/>
          </p:nvPr>
        </p:nvSpPr>
        <p:spPr/>
        <p:txBody>
          <a:bodyPr/>
          <a:lstStyle/>
          <a:p>
            <a:fld id="{80727244-25DA-4FDD-ADED-482C09915D8A}" type="slidenum">
              <a:rPr lang="en-GB" smtClean="0"/>
              <a:t>18</a:t>
            </a:fld>
            <a:endParaRPr lang="en-GB"/>
          </a:p>
        </p:txBody>
      </p:sp>
    </p:spTree>
    <p:extLst>
      <p:ext uri="{BB962C8B-B14F-4D97-AF65-F5344CB8AC3E}">
        <p14:creationId xmlns:p14="http://schemas.microsoft.com/office/powerpoint/2010/main" val="39057984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D6AC16-F641-8E5F-3EAB-0C3A343AAD45}"/>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225E4241-9990-DA02-AB80-31E7688C1440}"/>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DE77EBCD-753E-897D-59C7-6CDCB9754E3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Les réponses des prestataires nous ont permis de </a:t>
            </a:r>
            <a:r>
              <a:rPr lang="fr-FR" b="1" dirty="0"/>
              <a:t>mesurer la taille du marché</a:t>
            </a:r>
            <a:r>
              <a:rPr lang="fr-FR" dirty="0"/>
              <a:t> et de faire une </a:t>
            </a:r>
            <a:r>
              <a:rPr lang="fr-FR" b="1" dirty="0"/>
              <a:t>estimation du chiffre d’affaires</a:t>
            </a:r>
            <a:r>
              <a:rPr lang="fr-FR" dirty="0"/>
              <a:t> </a:t>
            </a:r>
          </a:p>
        </p:txBody>
      </p:sp>
      <p:sp>
        <p:nvSpPr>
          <p:cNvPr id="4" name="Espace réservé du numéro de diapositive 3">
            <a:extLst>
              <a:ext uri="{FF2B5EF4-FFF2-40B4-BE49-F238E27FC236}">
                <a16:creationId xmlns:a16="http://schemas.microsoft.com/office/drawing/2014/main" id="{B45CE6A7-04F5-703D-363D-C23D2BA12E54}"/>
              </a:ext>
            </a:extLst>
          </p:cNvPr>
          <p:cNvSpPr>
            <a:spLocks noGrp="1"/>
          </p:cNvSpPr>
          <p:nvPr>
            <p:ph type="sldNum" sz="quarter" idx="5"/>
          </p:nvPr>
        </p:nvSpPr>
        <p:spPr/>
        <p:txBody>
          <a:bodyPr/>
          <a:lstStyle/>
          <a:p>
            <a:fld id="{80727244-25DA-4FDD-ADED-482C09915D8A}" type="slidenum">
              <a:rPr lang="en-GB" smtClean="0"/>
              <a:t>19</a:t>
            </a:fld>
            <a:endParaRPr lang="en-GB"/>
          </a:p>
        </p:txBody>
      </p:sp>
    </p:spTree>
    <p:extLst>
      <p:ext uri="{BB962C8B-B14F-4D97-AF65-F5344CB8AC3E}">
        <p14:creationId xmlns:p14="http://schemas.microsoft.com/office/powerpoint/2010/main" val="10713664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kern="1200" dirty="0">
                <a:solidFill>
                  <a:schemeClr val="tx1"/>
                </a:solidFill>
                <a:effectLst/>
                <a:latin typeface="+mn-lt"/>
                <a:ea typeface="+mn-ea"/>
                <a:cs typeface="+mn-cs"/>
              </a:rPr>
              <a:t>Après l’étude de marché, nous avons élaboré notre plan marketing, qui définit notre cible et l’image que nous voulons transmettre.</a:t>
            </a:r>
          </a:p>
        </p:txBody>
      </p:sp>
      <p:sp>
        <p:nvSpPr>
          <p:cNvPr id="4" name="Slide Number Placeholder 3"/>
          <p:cNvSpPr>
            <a:spLocks noGrp="1"/>
          </p:cNvSpPr>
          <p:nvPr>
            <p:ph type="sldNum" sz="quarter" idx="5"/>
          </p:nvPr>
        </p:nvSpPr>
        <p:spPr/>
        <p:txBody>
          <a:bodyPr/>
          <a:lstStyle/>
          <a:p>
            <a:fld id="{80727244-25DA-4FDD-ADED-482C09915D8A}" type="slidenum">
              <a:rPr lang="en-GB" smtClean="0"/>
              <a:t>21</a:t>
            </a:fld>
            <a:endParaRPr lang="en-GB"/>
          </a:p>
        </p:txBody>
      </p:sp>
    </p:spTree>
    <p:extLst>
      <p:ext uri="{BB962C8B-B14F-4D97-AF65-F5344CB8AC3E}">
        <p14:creationId xmlns:p14="http://schemas.microsoft.com/office/powerpoint/2010/main" val="31375481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Amir :</a:t>
            </a:r>
          </a:p>
          <a:p>
            <a:r>
              <a:rPr lang="fr-FR" dirty="0"/>
              <a:t>Pour notre présentation, nous suivrons le plan suivant : nous commencerons par une introduction au contexte des audits ISO et à notre organisme d'accueil. Ensuite, nous exposerons la problématique que nous avons identifiée, avant de présenter notre solution, "AuditLynk". Nous détaillerons ensuite la méthodologie de travail et les aspects techniques de la réalisation, avant de conclure avec les résultats obtenus et les perspectives d'avenir pour notre projet.</a:t>
            </a:r>
          </a:p>
        </p:txBody>
      </p:sp>
      <p:sp>
        <p:nvSpPr>
          <p:cNvPr id="4" name="Slide Number Placeholder 3"/>
          <p:cNvSpPr>
            <a:spLocks noGrp="1"/>
          </p:cNvSpPr>
          <p:nvPr>
            <p:ph type="sldNum" sz="quarter" idx="5"/>
          </p:nvPr>
        </p:nvSpPr>
        <p:spPr/>
        <p:txBody>
          <a:bodyPr/>
          <a:lstStyle/>
          <a:p>
            <a:fld id="{80727244-25DA-4FDD-ADED-482C09915D8A}" type="slidenum">
              <a:rPr lang="en-GB" smtClean="0"/>
              <a:t>2</a:t>
            </a:fld>
            <a:endParaRPr lang="en-GB"/>
          </a:p>
        </p:txBody>
      </p:sp>
    </p:spTree>
    <p:extLst>
      <p:ext uri="{BB962C8B-B14F-4D97-AF65-F5344CB8AC3E}">
        <p14:creationId xmlns:p14="http://schemas.microsoft.com/office/powerpoint/2010/main" val="18608530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E86FE5-8B12-C838-642B-C32F54AC3A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2DA477-6C22-44D3-D4C8-E04FA89084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6357E1-94D1-3966-9750-2D0EBB533BDE}"/>
              </a:ext>
            </a:extLst>
          </p:cNvPr>
          <p:cNvSpPr>
            <a:spLocks noGrp="1"/>
          </p:cNvSpPr>
          <p:nvPr>
            <p:ph type="body" idx="1"/>
          </p:nvPr>
        </p:nvSpPr>
        <p:spPr/>
        <p:txBody>
          <a:bodyPr/>
          <a:lstStyle/>
          <a:p>
            <a:r>
              <a:rPr lang="fr-FR" sz="1200" kern="1200" dirty="0">
                <a:solidFill>
                  <a:schemeClr val="tx1"/>
                </a:solidFill>
                <a:effectLst/>
                <a:latin typeface="+mn-lt"/>
                <a:ea typeface="+mn-ea"/>
                <a:cs typeface="+mn-cs"/>
              </a:rPr>
              <a:t>Nous avons analysé le marché en fonction de la localisation, des caractéristiques des clients et de leurs habitudes pour mieux comprendre les différents profils. Ces résultats sont présentés dans la slide correspondante</a:t>
            </a:r>
            <a:endParaRPr lang="fr-TN" dirty="0"/>
          </a:p>
        </p:txBody>
      </p:sp>
      <p:sp>
        <p:nvSpPr>
          <p:cNvPr id="4" name="Slide Number Placeholder 3">
            <a:extLst>
              <a:ext uri="{FF2B5EF4-FFF2-40B4-BE49-F238E27FC236}">
                <a16:creationId xmlns:a16="http://schemas.microsoft.com/office/drawing/2014/main" id="{2E2F5652-305E-6B8F-F4CC-1938F08790C7}"/>
              </a:ext>
            </a:extLst>
          </p:cNvPr>
          <p:cNvSpPr>
            <a:spLocks noGrp="1"/>
          </p:cNvSpPr>
          <p:nvPr>
            <p:ph type="sldNum" sz="quarter" idx="5"/>
          </p:nvPr>
        </p:nvSpPr>
        <p:spPr/>
        <p:txBody>
          <a:bodyPr/>
          <a:lstStyle/>
          <a:p>
            <a:fld id="{80727244-25DA-4FDD-ADED-482C09915D8A}" type="slidenum">
              <a:rPr lang="en-GB" smtClean="0"/>
              <a:t>22</a:t>
            </a:fld>
            <a:endParaRPr lang="en-GB"/>
          </a:p>
        </p:txBody>
      </p:sp>
    </p:spTree>
    <p:extLst>
      <p:ext uri="{BB962C8B-B14F-4D97-AF65-F5344CB8AC3E}">
        <p14:creationId xmlns:p14="http://schemas.microsoft.com/office/powerpoint/2010/main" val="32291994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C6195-3A00-E671-8BD3-5D510BB924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8ED4F3-19F6-EE32-7DC4-52664F22F8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D842DC-8BF5-6963-4C11-4F2C30E85A5B}"/>
              </a:ext>
            </a:extLst>
          </p:cNvPr>
          <p:cNvSpPr>
            <a:spLocks noGrp="1"/>
          </p:cNvSpPr>
          <p:nvPr>
            <p:ph type="body" idx="1"/>
          </p:nvPr>
        </p:nvSpPr>
        <p:spPr/>
        <p:txBody>
          <a:bodyPr/>
          <a:lstStyle/>
          <a:p>
            <a:r>
              <a:rPr lang="fr-FR" sz="1200" kern="1200" dirty="0">
                <a:solidFill>
                  <a:schemeClr val="tx1"/>
                </a:solidFill>
                <a:effectLst/>
                <a:latin typeface="+mn-lt"/>
                <a:ea typeface="+mn-ea"/>
                <a:cs typeface="+mn-cs"/>
              </a:rPr>
              <a:t>Nous adressons principalement aux touristes tunisiens et aux Tunisiens vivant à l’étranger, qui sont le cœur de la demande estivale Et bien sûr, les prestataires de cabanes et d'activités nautiques, qui sont nos partenaires essentiels</a:t>
            </a:r>
            <a:endParaRPr lang="fr-TN" dirty="0"/>
          </a:p>
        </p:txBody>
      </p:sp>
      <p:sp>
        <p:nvSpPr>
          <p:cNvPr id="4" name="Slide Number Placeholder 3">
            <a:extLst>
              <a:ext uri="{FF2B5EF4-FFF2-40B4-BE49-F238E27FC236}">
                <a16:creationId xmlns:a16="http://schemas.microsoft.com/office/drawing/2014/main" id="{599D9C45-8FD1-5B5F-95B9-0E9C2E21FE60}"/>
              </a:ext>
            </a:extLst>
          </p:cNvPr>
          <p:cNvSpPr>
            <a:spLocks noGrp="1"/>
          </p:cNvSpPr>
          <p:nvPr>
            <p:ph type="sldNum" sz="quarter" idx="5"/>
          </p:nvPr>
        </p:nvSpPr>
        <p:spPr/>
        <p:txBody>
          <a:bodyPr/>
          <a:lstStyle/>
          <a:p>
            <a:fld id="{80727244-25DA-4FDD-ADED-482C09915D8A}" type="slidenum">
              <a:rPr lang="en-GB" smtClean="0"/>
              <a:t>23</a:t>
            </a:fld>
            <a:endParaRPr lang="en-GB"/>
          </a:p>
        </p:txBody>
      </p:sp>
    </p:spTree>
    <p:extLst>
      <p:ext uri="{BB962C8B-B14F-4D97-AF65-F5344CB8AC3E}">
        <p14:creationId xmlns:p14="http://schemas.microsoft.com/office/powerpoint/2010/main" val="16929578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459AD8-F737-03DD-3EC2-34AE0AE507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F64F59-9578-18D3-76FC-D236019F72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9D4863-0073-4ECE-C88B-C9DC4714E95B}"/>
              </a:ext>
            </a:extLst>
          </p:cNvPr>
          <p:cNvSpPr>
            <a:spLocks noGrp="1"/>
          </p:cNvSpPr>
          <p:nvPr>
            <p:ph type="body" idx="1"/>
          </p:nvPr>
        </p:nvSpPr>
        <p:spPr/>
        <p:txBody>
          <a:bodyPr/>
          <a:lstStyle/>
          <a:p>
            <a:r>
              <a:rPr lang="fr-FR" sz="1200" kern="1200" dirty="0">
                <a:solidFill>
                  <a:schemeClr val="tx1"/>
                </a:solidFill>
                <a:effectLst/>
                <a:latin typeface="+mn-lt"/>
                <a:ea typeface="+mn-ea"/>
                <a:cs typeface="+mn-cs"/>
              </a:rPr>
              <a:t>On passe maintenant à notre positionnement sur le marché. </a:t>
            </a:r>
            <a:r>
              <a:rPr lang="fr-FR" sz="1200" kern="1200" dirty="0" err="1">
                <a:solidFill>
                  <a:schemeClr val="tx1"/>
                </a:solidFill>
                <a:effectLst/>
                <a:latin typeface="+mn-lt"/>
                <a:ea typeface="+mn-ea"/>
                <a:cs typeface="+mn-cs"/>
              </a:rPr>
              <a:t>Cabinoo</a:t>
            </a:r>
            <a:r>
              <a:rPr lang="fr-FR" sz="1200" kern="1200" dirty="0">
                <a:solidFill>
                  <a:schemeClr val="tx1"/>
                </a:solidFill>
                <a:effectLst/>
                <a:latin typeface="+mn-lt"/>
                <a:ea typeface="+mn-ea"/>
                <a:cs typeface="+mn-cs"/>
              </a:rPr>
              <a:t> propose une offre spécialisée et 100 % tunisien , avec une expérience simple et rapide et des paiements en dinars. En ciblant une partie du marché que les grandes entreprises ne couvrent pas encore, nous sommes uniques dans les loisirs balnéaires en Tunisie. Notre objectif  est d’abord de gagner tout le marché local pour devenir la référence de loisir </a:t>
            </a:r>
            <a:r>
              <a:rPr lang="fr-FR" sz="1200" kern="1200" dirty="0" err="1">
                <a:solidFill>
                  <a:schemeClr val="tx1"/>
                </a:solidFill>
                <a:effectLst/>
                <a:latin typeface="+mn-lt"/>
                <a:ea typeface="+mn-ea"/>
                <a:cs typeface="+mn-cs"/>
              </a:rPr>
              <a:t>baleniere</a:t>
            </a:r>
            <a:r>
              <a:rPr lang="fr-FR" sz="1200" kern="1200" dirty="0">
                <a:solidFill>
                  <a:schemeClr val="tx1"/>
                </a:solidFill>
                <a:effectLst/>
                <a:latin typeface="+mn-lt"/>
                <a:ea typeface="+mn-ea"/>
                <a:cs typeface="+mn-cs"/>
              </a:rPr>
              <a:t> en </a:t>
            </a:r>
            <a:r>
              <a:rPr lang="fr-FR" sz="1200" kern="1200" dirty="0" err="1">
                <a:solidFill>
                  <a:schemeClr val="tx1"/>
                </a:solidFill>
                <a:effectLst/>
                <a:latin typeface="+mn-lt"/>
                <a:ea typeface="+mn-ea"/>
                <a:cs typeface="+mn-cs"/>
              </a:rPr>
              <a:t>tunisie</a:t>
            </a:r>
            <a:r>
              <a:rPr lang="fr-FR" sz="1200" kern="1200" dirty="0">
                <a:solidFill>
                  <a:schemeClr val="tx1"/>
                </a:solidFill>
                <a:effectLst/>
                <a:latin typeface="+mn-lt"/>
                <a:ea typeface="+mn-ea"/>
                <a:cs typeface="+mn-cs"/>
              </a:rPr>
              <a:t> , puis de nous développer à l’international.</a:t>
            </a:r>
          </a:p>
        </p:txBody>
      </p:sp>
      <p:sp>
        <p:nvSpPr>
          <p:cNvPr id="4" name="Slide Number Placeholder 3">
            <a:extLst>
              <a:ext uri="{FF2B5EF4-FFF2-40B4-BE49-F238E27FC236}">
                <a16:creationId xmlns:a16="http://schemas.microsoft.com/office/drawing/2014/main" id="{123F213B-7437-DD91-417F-72F5F7D8A5CC}"/>
              </a:ext>
            </a:extLst>
          </p:cNvPr>
          <p:cNvSpPr>
            <a:spLocks noGrp="1"/>
          </p:cNvSpPr>
          <p:nvPr>
            <p:ph type="sldNum" sz="quarter" idx="5"/>
          </p:nvPr>
        </p:nvSpPr>
        <p:spPr/>
        <p:txBody>
          <a:bodyPr/>
          <a:lstStyle/>
          <a:p>
            <a:fld id="{80727244-25DA-4FDD-ADED-482C09915D8A}" type="slidenum">
              <a:rPr lang="en-GB" smtClean="0"/>
              <a:t>24</a:t>
            </a:fld>
            <a:endParaRPr lang="en-GB"/>
          </a:p>
        </p:txBody>
      </p:sp>
    </p:spTree>
    <p:extLst>
      <p:ext uri="{BB962C8B-B14F-4D97-AF65-F5344CB8AC3E}">
        <p14:creationId xmlns:p14="http://schemas.microsoft.com/office/powerpoint/2010/main" val="19072123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A41733-5621-2E8E-7E30-2F47CA7307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00022C-2F0F-2CC9-2DCE-61C1D49FE4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1C97CB-B5B9-D774-083C-CB1C4D75D048}"/>
              </a:ext>
            </a:extLst>
          </p:cNvPr>
          <p:cNvSpPr>
            <a:spLocks noGrp="1"/>
          </p:cNvSpPr>
          <p:nvPr>
            <p:ph type="body" idx="1"/>
          </p:nvPr>
        </p:nvSpPr>
        <p:spPr/>
        <p:txBody>
          <a:bodyPr/>
          <a:lstStyle/>
          <a:p>
            <a:r>
              <a:rPr lang="fr-FR" sz="1200" kern="1200" dirty="0">
                <a:solidFill>
                  <a:schemeClr val="tx1"/>
                </a:solidFill>
                <a:effectLst/>
                <a:latin typeface="+mn-lt"/>
                <a:ea typeface="+mn-ea"/>
                <a:cs typeface="+mn-cs"/>
              </a:rPr>
              <a:t>Ce positionnement se traduit en un plan opérationnel, que nous avons résumé avec le modèle des 8P. Je voudrais insister sur deux points : notre Produit, une plateforme tout-en-un, et notre politique de Prix.</a:t>
            </a:r>
          </a:p>
          <a:p>
            <a:endParaRPr lang="fr-TN" dirty="0"/>
          </a:p>
        </p:txBody>
      </p:sp>
      <p:sp>
        <p:nvSpPr>
          <p:cNvPr id="4" name="Slide Number Placeholder 3">
            <a:extLst>
              <a:ext uri="{FF2B5EF4-FFF2-40B4-BE49-F238E27FC236}">
                <a16:creationId xmlns:a16="http://schemas.microsoft.com/office/drawing/2014/main" id="{7895EC04-068D-64ED-3BDB-7BFC4ABFD0DB}"/>
              </a:ext>
            </a:extLst>
          </p:cNvPr>
          <p:cNvSpPr>
            <a:spLocks noGrp="1"/>
          </p:cNvSpPr>
          <p:nvPr>
            <p:ph type="sldNum" sz="quarter" idx="5"/>
          </p:nvPr>
        </p:nvSpPr>
        <p:spPr/>
        <p:txBody>
          <a:bodyPr/>
          <a:lstStyle/>
          <a:p>
            <a:fld id="{80727244-25DA-4FDD-ADED-482C09915D8A}" type="slidenum">
              <a:rPr lang="en-GB" smtClean="0"/>
              <a:t>25</a:t>
            </a:fld>
            <a:endParaRPr lang="en-GB"/>
          </a:p>
        </p:txBody>
      </p:sp>
    </p:spTree>
    <p:extLst>
      <p:ext uri="{BB962C8B-B14F-4D97-AF65-F5344CB8AC3E}">
        <p14:creationId xmlns:p14="http://schemas.microsoft.com/office/powerpoint/2010/main" val="28724717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E1A7A7-A4B7-EDCA-6AB7-4D9EB6F19B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0328B7-E493-AA9F-36D3-5A711C8653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4B8071-475A-4F8E-D9DB-6438AFE646C7}"/>
              </a:ext>
            </a:extLst>
          </p:cNvPr>
          <p:cNvSpPr>
            <a:spLocks noGrp="1"/>
          </p:cNvSpPr>
          <p:nvPr>
            <p:ph type="body" idx="1"/>
          </p:nvPr>
        </p:nvSpPr>
        <p:spPr/>
        <p:txBody>
          <a:bodyPr/>
          <a:lstStyle/>
          <a:p>
            <a:r>
              <a:rPr lang="fr-FR" sz="1200" b="1" kern="1200" dirty="0">
                <a:solidFill>
                  <a:schemeClr val="tx1"/>
                </a:solidFill>
                <a:effectLst/>
                <a:latin typeface="+mn-lt"/>
                <a:ea typeface="+mn-ea"/>
                <a:cs typeface="+mn-cs"/>
              </a:rPr>
              <a:t>Notre stratégie de prix est simple et équilibrée</a:t>
            </a:r>
            <a:r>
              <a:rPr lang="fr-FR" sz="1200" kern="1200" dirty="0">
                <a:solidFill>
                  <a:schemeClr val="tx1"/>
                </a:solidFill>
                <a:effectLst/>
                <a:latin typeface="+mn-lt"/>
                <a:ea typeface="+mn-ea"/>
                <a:cs typeface="+mn-cs"/>
              </a:rPr>
              <a:t>. Le client paie un acompte de 40 % à la réservation, </a:t>
            </a:r>
            <a:r>
              <a:rPr lang="fr-FR" sz="1200" b="1" kern="1200" dirty="0">
                <a:solidFill>
                  <a:schemeClr val="tx1"/>
                </a:solidFill>
                <a:effectLst/>
                <a:latin typeface="+mn-lt"/>
                <a:ea typeface="+mn-ea"/>
                <a:cs typeface="+mn-cs"/>
              </a:rPr>
              <a:t>ce qui confirme son engagement</a:t>
            </a:r>
            <a:r>
              <a:rPr lang="fr-FR" sz="1200" kern="1200" dirty="0">
                <a:solidFill>
                  <a:schemeClr val="tx1"/>
                </a:solidFill>
                <a:effectLst/>
                <a:latin typeface="+mn-lt"/>
                <a:ea typeface="+mn-ea"/>
                <a:cs typeface="+mn-cs"/>
              </a:rPr>
              <a:t>. </a:t>
            </a:r>
            <a:r>
              <a:rPr lang="fr-FR" sz="1200" kern="1200" dirty="0" err="1">
                <a:solidFill>
                  <a:schemeClr val="tx1"/>
                </a:solidFill>
                <a:effectLst/>
                <a:latin typeface="+mn-lt"/>
                <a:ea typeface="+mn-ea"/>
                <a:cs typeface="+mn-cs"/>
              </a:rPr>
              <a:t>Cabinoo</a:t>
            </a:r>
            <a:r>
              <a:rPr lang="fr-FR" sz="1200" kern="1200" dirty="0">
                <a:solidFill>
                  <a:schemeClr val="tx1"/>
                </a:solidFill>
                <a:effectLst/>
                <a:latin typeface="+mn-lt"/>
                <a:ea typeface="+mn-ea"/>
                <a:cs typeface="+mn-cs"/>
              </a:rPr>
              <a:t> a </a:t>
            </a:r>
            <a:r>
              <a:rPr lang="fr-FR" sz="1200" kern="1200" dirty="0" err="1">
                <a:solidFill>
                  <a:schemeClr val="tx1"/>
                </a:solidFill>
                <a:effectLst/>
                <a:latin typeface="+mn-lt"/>
                <a:ea typeface="+mn-ea"/>
                <a:cs typeface="+mn-cs"/>
              </a:rPr>
              <a:t>comission</a:t>
            </a:r>
            <a:r>
              <a:rPr lang="fr-FR" sz="1200" kern="1200" dirty="0">
                <a:solidFill>
                  <a:schemeClr val="tx1"/>
                </a:solidFill>
                <a:effectLst/>
                <a:latin typeface="+mn-lt"/>
                <a:ea typeface="+mn-ea"/>
                <a:cs typeface="+mn-cs"/>
              </a:rPr>
              <a:t> de  5 % sur le montant total : 4 % pour notre service et 1 % pour notre partenaire de paiement </a:t>
            </a:r>
            <a:r>
              <a:rPr lang="fr-FR" sz="1200" kern="1200" dirty="0" err="1">
                <a:solidFill>
                  <a:schemeClr val="tx1"/>
                </a:solidFill>
                <a:effectLst/>
                <a:latin typeface="+mn-lt"/>
                <a:ea typeface="+mn-ea"/>
                <a:cs typeface="+mn-cs"/>
              </a:rPr>
              <a:t>ClickToPay</a:t>
            </a:r>
            <a:r>
              <a:rPr lang="fr-FR" sz="1200" kern="1200" dirty="0">
                <a:solidFill>
                  <a:schemeClr val="tx1"/>
                </a:solidFill>
                <a:effectLst/>
                <a:latin typeface="+mn-lt"/>
                <a:ea typeface="+mn-ea"/>
                <a:cs typeface="+mn-cs"/>
              </a:rPr>
              <a:t>. </a:t>
            </a:r>
          </a:p>
          <a:p>
            <a:r>
              <a:rPr lang="fr-FR" sz="1200" kern="1200" dirty="0">
                <a:solidFill>
                  <a:schemeClr val="tx1"/>
                </a:solidFill>
                <a:effectLst/>
                <a:latin typeface="+mn-lt"/>
                <a:ea typeface="+mn-ea"/>
                <a:cs typeface="+mn-cs"/>
              </a:rPr>
              <a:t>Pour les annulations, nous offrons un remboursement presque complet si l’annulation est faite plus de 48 heures à l’avance. </a:t>
            </a:r>
          </a:p>
          <a:p>
            <a:r>
              <a:rPr lang="fr-FR" sz="1200" kern="1200" dirty="0">
                <a:solidFill>
                  <a:schemeClr val="tx1"/>
                </a:solidFill>
                <a:effectLst/>
                <a:latin typeface="+mn-lt"/>
                <a:ea typeface="+mn-ea"/>
                <a:cs typeface="+mn-cs"/>
              </a:rPr>
              <a:t>En cas d’annulation de dernière minute, il </a:t>
            </a:r>
            <a:r>
              <a:rPr lang="fr-FR" sz="1200" kern="1200" dirty="0" err="1">
                <a:solidFill>
                  <a:schemeClr val="tx1"/>
                </a:solidFill>
                <a:effectLst/>
                <a:latin typeface="+mn-lt"/>
                <a:ea typeface="+mn-ea"/>
                <a:cs typeface="+mn-cs"/>
              </a:rPr>
              <a:t>ya</a:t>
            </a:r>
            <a:r>
              <a:rPr lang="fr-FR" sz="1200" kern="1200" dirty="0">
                <a:solidFill>
                  <a:schemeClr val="tx1"/>
                </a:solidFill>
                <a:effectLst/>
                <a:latin typeface="+mn-lt"/>
                <a:ea typeface="+mn-ea"/>
                <a:cs typeface="+mn-cs"/>
              </a:rPr>
              <a:t> une pénalité de 10% du montent total  pour protège les prestataires </a:t>
            </a:r>
            <a:endParaRPr lang="fr-TN" dirty="0"/>
          </a:p>
        </p:txBody>
      </p:sp>
      <p:sp>
        <p:nvSpPr>
          <p:cNvPr id="4" name="Slide Number Placeholder 3">
            <a:extLst>
              <a:ext uri="{FF2B5EF4-FFF2-40B4-BE49-F238E27FC236}">
                <a16:creationId xmlns:a16="http://schemas.microsoft.com/office/drawing/2014/main" id="{915614DF-55A7-27CF-2B0D-D981DA19CB29}"/>
              </a:ext>
            </a:extLst>
          </p:cNvPr>
          <p:cNvSpPr>
            <a:spLocks noGrp="1"/>
          </p:cNvSpPr>
          <p:nvPr>
            <p:ph type="sldNum" sz="quarter" idx="5"/>
          </p:nvPr>
        </p:nvSpPr>
        <p:spPr/>
        <p:txBody>
          <a:bodyPr/>
          <a:lstStyle/>
          <a:p>
            <a:fld id="{80727244-25DA-4FDD-ADED-482C09915D8A}" type="slidenum">
              <a:rPr lang="en-GB" smtClean="0"/>
              <a:t>26</a:t>
            </a:fld>
            <a:endParaRPr lang="en-GB"/>
          </a:p>
        </p:txBody>
      </p:sp>
    </p:spTree>
    <p:extLst>
      <p:ext uri="{BB962C8B-B14F-4D97-AF65-F5344CB8AC3E}">
        <p14:creationId xmlns:p14="http://schemas.microsoft.com/office/powerpoint/2010/main" val="11685724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CD19C-8867-8146-0AFD-4F62092C29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A997AF-0E32-DBA8-C727-7B7E696E62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F5E760-19AE-3C0B-FA9E-433FBE7D475D}"/>
              </a:ext>
            </a:extLst>
          </p:cNvPr>
          <p:cNvSpPr>
            <a:spLocks noGrp="1"/>
          </p:cNvSpPr>
          <p:nvPr>
            <p:ph type="body" idx="1"/>
          </p:nvPr>
        </p:nvSpPr>
        <p:spPr/>
        <p:txBody>
          <a:bodyPr/>
          <a:lstStyle/>
          <a:p>
            <a:endParaRPr lang="fr-TN" dirty="0"/>
          </a:p>
        </p:txBody>
      </p:sp>
      <p:sp>
        <p:nvSpPr>
          <p:cNvPr id="4" name="Slide Number Placeholder 3">
            <a:extLst>
              <a:ext uri="{FF2B5EF4-FFF2-40B4-BE49-F238E27FC236}">
                <a16:creationId xmlns:a16="http://schemas.microsoft.com/office/drawing/2014/main" id="{05E82BB4-C37C-5871-4B01-7D0165EE3698}"/>
              </a:ext>
            </a:extLst>
          </p:cNvPr>
          <p:cNvSpPr>
            <a:spLocks noGrp="1"/>
          </p:cNvSpPr>
          <p:nvPr>
            <p:ph type="sldNum" sz="quarter" idx="5"/>
          </p:nvPr>
        </p:nvSpPr>
        <p:spPr/>
        <p:txBody>
          <a:bodyPr/>
          <a:lstStyle/>
          <a:p>
            <a:fld id="{80727244-25DA-4FDD-ADED-482C09915D8A}" type="slidenum">
              <a:rPr lang="en-GB" smtClean="0"/>
              <a:t>27</a:t>
            </a:fld>
            <a:endParaRPr lang="en-GB"/>
          </a:p>
        </p:txBody>
      </p:sp>
    </p:spTree>
    <p:extLst>
      <p:ext uri="{BB962C8B-B14F-4D97-AF65-F5344CB8AC3E}">
        <p14:creationId xmlns:p14="http://schemas.microsoft.com/office/powerpoint/2010/main" val="17350615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7EB824-0AFC-EAE4-DC86-932579BC2F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F13577-C5C5-2A16-C9AD-69EF62CB0A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5344C3-7DE8-84BF-8A05-EC989BADAF1B}"/>
              </a:ext>
            </a:extLst>
          </p:cNvPr>
          <p:cNvSpPr>
            <a:spLocks noGrp="1"/>
          </p:cNvSpPr>
          <p:nvPr>
            <p:ph type="body" idx="1"/>
          </p:nvPr>
        </p:nvSpPr>
        <p:spPr/>
        <p:txBody>
          <a:bodyPr/>
          <a:lstStyle/>
          <a:p>
            <a:endParaRPr lang="fr-TN" dirty="0"/>
          </a:p>
        </p:txBody>
      </p:sp>
      <p:sp>
        <p:nvSpPr>
          <p:cNvPr id="4" name="Slide Number Placeholder 3">
            <a:extLst>
              <a:ext uri="{FF2B5EF4-FFF2-40B4-BE49-F238E27FC236}">
                <a16:creationId xmlns:a16="http://schemas.microsoft.com/office/drawing/2014/main" id="{AD955D76-5844-99AF-E96C-34AD0517F5D8}"/>
              </a:ext>
            </a:extLst>
          </p:cNvPr>
          <p:cNvSpPr>
            <a:spLocks noGrp="1"/>
          </p:cNvSpPr>
          <p:nvPr>
            <p:ph type="sldNum" sz="quarter" idx="5"/>
          </p:nvPr>
        </p:nvSpPr>
        <p:spPr/>
        <p:txBody>
          <a:bodyPr/>
          <a:lstStyle/>
          <a:p>
            <a:fld id="{80727244-25DA-4FDD-ADED-482C09915D8A}" type="slidenum">
              <a:rPr lang="en-GB" smtClean="0"/>
              <a:t>28</a:t>
            </a:fld>
            <a:endParaRPr lang="en-GB"/>
          </a:p>
        </p:txBody>
      </p:sp>
    </p:spTree>
    <p:extLst>
      <p:ext uri="{BB962C8B-B14F-4D97-AF65-F5344CB8AC3E}">
        <p14:creationId xmlns:p14="http://schemas.microsoft.com/office/powerpoint/2010/main" val="34569492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19D6AE-0B2A-A664-8BE0-4917E2862A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A933ED-0B65-3B60-8862-D2E0C0F275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F27330-ED75-B6B7-5E3B-E0D1296933E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err="1"/>
              <a:t>Khaled:</a:t>
            </a:r>
            <a:r>
              <a:rPr lang="fr-FR" dirty="0" err="1">
                <a:effectLst/>
              </a:rPr>
              <a:t>Passons</a:t>
            </a:r>
            <a:r>
              <a:rPr lang="fr-FR" dirty="0">
                <a:effectLst/>
              </a:rPr>
              <a:t> maintenant à l'étude technique. Avant de parler de technologie, il est essentiel de définir les besoi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TN" dirty="0"/>
          </a:p>
        </p:txBody>
      </p:sp>
      <p:sp>
        <p:nvSpPr>
          <p:cNvPr id="4" name="Slide Number Placeholder 3">
            <a:extLst>
              <a:ext uri="{FF2B5EF4-FFF2-40B4-BE49-F238E27FC236}">
                <a16:creationId xmlns:a16="http://schemas.microsoft.com/office/drawing/2014/main" id="{171F26D5-52EC-739F-5AA9-DEF9F08C9F98}"/>
              </a:ext>
            </a:extLst>
          </p:cNvPr>
          <p:cNvSpPr>
            <a:spLocks noGrp="1"/>
          </p:cNvSpPr>
          <p:nvPr>
            <p:ph type="sldNum" sz="quarter" idx="5"/>
          </p:nvPr>
        </p:nvSpPr>
        <p:spPr/>
        <p:txBody>
          <a:bodyPr/>
          <a:lstStyle/>
          <a:p>
            <a:fld id="{80727244-25DA-4FDD-ADED-482C09915D8A}" type="slidenum">
              <a:rPr lang="en-GB" smtClean="0"/>
              <a:t>30</a:t>
            </a:fld>
            <a:endParaRPr lang="en-GB"/>
          </a:p>
        </p:txBody>
      </p:sp>
    </p:spTree>
    <p:extLst>
      <p:ext uri="{BB962C8B-B14F-4D97-AF65-F5344CB8AC3E}">
        <p14:creationId xmlns:p14="http://schemas.microsoft.com/office/powerpoint/2010/main" val="16497526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27E90A-800C-0DD0-0DAB-6F984431CC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0AAB5F-CDB7-0ACA-7B16-B55630F0AE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B011CF-E936-1FBB-52A9-704EF053788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Amir :</a:t>
            </a:r>
          </a:p>
          <a:p>
            <a:r>
              <a:rPr lang="fr-FR" dirty="0"/>
              <a:t>Pour développer AuditLynk, nous avons d'abord défini les besoins fonctionnels, comme l'authentification ou la transcription, mais aussi les besoins non fonctionnels, comme la performance, la disponibilité et l'ergonomie, qui sont essentiels pour garantir une application fiable et agréable à utiliser sur le terrain.</a:t>
            </a:r>
            <a:endParaRPr lang="fr-TN" dirty="0"/>
          </a:p>
        </p:txBody>
      </p:sp>
      <p:sp>
        <p:nvSpPr>
          <p:cNvPr id="4" name="Slide Number Placeholder 3">
            <a:extLst>
              <a:ext uri="{FF2B5EF4-FFF2-40B4-BE49-F238E27FC236}">
                <a16:creationId xmlns:a16="http://schemas.microsoft.com/office/drawing/2014/main" id="{8F60494E-29A9-0F51-C820-A006F113CB78}"/>
              </a:ext>
            </a:extLst>
          </p:cNvPr>
          <p:cNvSpPr>
            <a:spLocks noGrp="1"/>
          </p:cNvSpPr>
          <p:nvPr>
            <p:ph type="sldNum" sz="quarter" idx="5"/>
          </p:nvPr>
        </p:nvSpPr>
        <p:spPr/>
        <p:txBody>
          <a:bodyPr/>
          <a:lstStyle/>
          <a:p>
            <a:fld id="{80727244-25DA-4FDD-ADED-482C09915D8A}" type="slidenum">
              <a:rPr lang="en-GB" smtClean="0"/>
              <a:t>31</a:t>
            </a:fld>
            <a:endParaRPr lang="en-GB"/>
          </a:p>
        </p:txBody>
      </p:sp>
    </p:spTree>
    <p:extLst>
      <p:ext uri="{BB962C8B-B14F-4D97-AF65-F5344CB8AC3E}">
        <p14:creationId xmlns:p14="http://schemas.microsoft.com/office/powerpoint/2010/main" val="22286540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effectLst/>
              </a:rPr>
              <a:t>Pour répondre à ces besoins, nous avons choisi des logiciels adaptés et performants, comme...</a:t>
            </a:r>
          </a:p>
          <a:p>
            <a:endParaRPr lang="fr-TN" dirty="0"/>
          </a:p>
        </p:txBody>
      </p:sp>
      <p:sp>
        <p:nvSpPr>
          <p:cNvPr id="4" name="Slide Number Placeholder 3"/>
          <p:cNvSpPr>
            <a:spLocks noGrp="1"/>
          </p:cNvSpPr>
          <p:nvPr>
            <p:ph type="sldNum" sz="quarter" idx="5"/>
          </p:nvPr>
        </p:nvSpPr>
        <p:spPr/>
        <p:txBody>
          <a:bodyPr/>
          <a:lstStyle/>
          <a:p>
            <a:fld id="{80727244-25DA-4FDD-ADED-482C09915D8A}" type="slidenum">
              <a:rPr lang="en-GB" smtClean="0"/>
              <a:t>32</a:t>
            </a:fld>
            <a:endParaRPr lang="en-GB"/>
          </a:p>
        </p:txBody>
      </p:sp>
    </p:spTree>
    <p:extLst>
      <p:ext uri="{BB962C8B-B14F-4D97-AF65-F5344CB8AC3E}">
        <p14:creationId xmlns:p14="http://schemas.microsoft.com/office/powerpoint/2010/main" val="16434736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5698D0-2DCC-7E4A-6897-41DEC6C0A1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2E303B-ECF9-5B0B-B316-605D0F8C68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73E6D6-9465-7BEE-3E40-30F7B69CB9F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Zahia :</a:t>
            </a:r>
          </a:p>
          <a:p>
            <a:r>
              <a:rPr lang="fr-FR" dirty="0"/>
              <a:t>Notre projet a été mené au sein de IFB Consulting, une société de conseil dont la mission est d'accompagner les entreprises dans leur démarche de certification ISO. Leur activité principale repose sur le conseil, l'audit et la formation, avec pour objectif d'améliorer les performances et la conformité de leurs clients.</a:t>
            </a:r>
          </a:p>
        </p:txBody>
      </p:sp>
      <p:sp>
        <p:nvSpPr>
          <p:cNvPr id="4" name="Slide Number Placeholder 3">
            <a:extLst>
              <a:ext uri="{FF2B5EF4-FFF2-40B4-BE49-F238E27FC236}">
                <a16:creationId xmlns:a16="http://schemas.microsoft.com/office/drawing/2014/main" id="{599D1D3E-7275-14A9-3BDA-D78198B029CB}"/>
              </a:ext>
            </a:extLst>
          </p:cNvPr>
          <p:cNvSpPr>
            <a:spLocks noGrp="1"/>
          </p:cNvSpPr>
          <p:nvPr>
            <p:ph type="sldNum" sz="quarter" idx="5"/>
          </p:nvPr>
        </p:nvSpPr>
        <p:spPr/>
        <p:txBody>
          <a:bodyPr/>
          <a:lstStyle/>
          <a:p>
            <a:fld id="{80727244-25DA-4FDD-ADED-482C09915D8A}" type="slidenum">
              <a:rPr lang="en-GB" smtClean="0"/>
              <a:t>3</a:t>
            </a:fld>
            <a:endParaRPr lang="en-GB"/>
          </a:p>
        </p:txBody>
      </p:sp>
    </p:spTree>
    <p:extLst>
      <p:ext uri="{BB962C8B-B14F-4D97-AF65-F5344CB8AC3E}">
        <p14:creationId xmlns:p14="http://schemas.microsoft.com/office/powerpoint/2010/main" val="228113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Pour vous montrer concrètement le fonctionnement et la fluidité d'AuditLynk, nous allons maintenant passer à une courte démonstration de l'application.</a:t>
            </a:r>
          </a:p>
          <a:p>
            <a:endParaRPr lang="fr-TN" dirty="0"/>
          </a:p>
        </p:txBody>
      </p:sp>
      <p:sp>
        <p:nvSpPr>
          <p:cNvPr id="4" name="Slide Number Placeholder 3"/>
          <p:cNvSpPr>
            <a:spLocks noGrp="1"/>
          </p:cNvSpPr>
          <p:nvPr>
            <p:ph type="sldNum" sz="quarter" idx="5"/>
          </p:nvPr>
        </p:nvSpPr>
        <p:spPr/>
        <p:txBody>
          <a:bodyPr/>
          <a:lstStyle/>
          <a:p>
            <a:fld id="{80727244-25DA-4FDD-ADED-482C09915D8A}" type="slidenum">
              <a:rPr lang="en-GB" smtClean="0"/>
              <a:t>34</a:t>
            </a:fld>
            <a:endParaRPr lang="en-GB"/>
          </a:p>
        </p:txBody>
      </p:sp>
    </p:spTree>
    <p:extLst>
      <p:ext uri="{BB962C8B-B14F-4D97-AF65-F5344CB8AC3E}">
        <p14:creationId xmlns:p14="http://schemas.microsoft.com/office/powerpoint/2010/main" val="19718502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7C901F-FBFC-A619-8568-3451B4DA36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54D594-6E14-6E01-7D18-1287106D8D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4C18AD-C865-5ACC-C1AB-F9641991C340}"/>
              </a:ext>
            </a:extLst>
          </p:cNvPr>
          <p:cNvSpPr>
            <a:spLocks noGrp="1"/>
          </p:cNvSpPr>
          <p:nvPr>
            <p:ph type="body" idx="1"/>
          </p:nvPr>
        </p:nvSpPr>
        <p:spPr/>
        <p:txBody>
          <a:bodyPr/>
          <a:lstStyle/>
          <a:p>
            <a:r>
              <a:rPr lang="fr-FR" dirty="0"/>
              <a:t>Avant de vous montrer notre chiffre d'affaires prévisionnel, il est important d'expliquer sur quoi il se base.</a:t>
            </a:r>
            <a:br>
              <a:rPr lang="fr-FR" dirty="0"/>
            </a:br>
            <a:r>
              <a:rPr lang="fr-FR" dirty="0"/>
              <a:t>Nos calculs ne sont pas faits au hasard : ils s’appuient sur notre enquête de terrain et nos échanges avec les prestataires.</a:t>
            </a:r>
          </a:p>
          <a:p>
            <a:r>
              <a:rPr lang="fr-FR" dirty="0"/>
              <a:t>Nous partons avec </a:t>
            </a:r>
            <a:r>
              <a:rPr lang="fr-FR" b="1" dirty="0"/>
              <a:t>15 prestataires actifs</a:t>
            </a:r>
            <a:r>
              <a:rPr lang="fr-FR" dirty="0"/>
              <a:t> la première saison, un objectif réaliste.</a:t>
            </a:r>
            <a:br>
              <a:rPr lang="fr-FR" dirty="0"/>
            </a:br>
            <a:r>
              <a:rPr lang="fr-FR" dirty="0"/>
              <a:t>En moyenne, un prestataire reçoit </a:t>
            </a:r>
            <a:r>
              <a:rPr lang="fr-FR" b="1" dirty="0"/>
              <a:t>90 réservations par jour</a:t>
            </a:r>
            <a:r>
              <a:rPr lang="fr-FR" dirty="0"/>
              <a:t>. On a choisi une estimation prudente : </a:t>
            </a:r>
            <a:r>
              <a:rPr lang="fr-FR" dirty="0" err="1"/>
              <a:t>Cabinoo</a:t>
            </a:r>
            <a:r>
              <a:rPr lang="fr-FR" dirty="0"/>
              <a:t> en capterait </a:t>
            </a:r>
            <a:r>
              <a:rPr lang="fr-FR" b="1" dirty="0"/>
              <a:t>23 %, soit 21 réservations par jour et par prestataire</a:t>
            </a:r>
            <a:r>
              <a:rPr lang="fr-FR" dirty="0"/>
              <a:t>.</a:t>
            </a:r>
          </a:p>
          <a:p>
            <a:r>
              <a:rPr lang="fr-FR" dirty="0"/>
              <a:t>Nous avons aussi estimé une saison de </a:t>
            </a:r>
            <a:r>
              <a:rPr lang="fr-FR" b="1" dirty="0"/>
              <a:t>4 mois (122 jours)</a:t>
            </a:r>
            <a:r>
              <a:rPr lang="fr-FR" dirty="0"/>
              <a:t>, avec des prix moyens observés sur le terrain :</a:t>
            </a:r>
          </a:p>
          <a:p>
            <a:r>
              <a:rPr lang="fr-FR" b="1" dirty="0"/>
              <a:t>82 DT pour une cabane</a:t>
            </a:r>
            <a:endParaRPr lang="fr-FR" dirty="0"/>
          </a:p>
          <a:p>
            <a:r>
              <a:rPr lang="fr-FR" b="1" dirty="0"/>
              <a:t>32 DT pour une activité nautique</a:t>
            </a:r>
            <a:endParaRPr lang="fr-FR" dirty="0"/>
          </a:p>
          <a:p>
            <a:r>
              <a:rPr lang="fr-FR" dirty="0"/>
              <a:t>Notre </a:t>
            </a:r>
            <a:r>
              <a:rPr lang="fr-FR" b="1" dirty="0"/>
              <a:t>modèle de revenus</a:t>
            </a:r>
            <a:r>
              <a:rPr lang="fr-FR" dirty="0"/>
              <a:t> est simple :</a:t>
            </a:r>
          </a:p>
          <a:p>
            <a:r>
              <a:rPr lang="fr-FR" dirty="0"/>
              <a:t>Une </a:t>
            </a:r>
            <a:r>
              <a:rPr lang="fr-FR" b="1" dirty="0"/>
              <a:t>commission de 5 %</a:t>
            </a:r>
            <a:r>
              <a:rPr lang="fr-FR" dirty="0"/>
              <a:t> par réservation (dont 1 % pour le partenaire de paiement → il nous reste </a:t>
            </a:r>
            <a:r>
              <a:rPr lang="fr-FR" b="1" dirty="0"/>
              <a:t>4 % nets</a:t>
            </a:r>
            <a:r>
              <a:rPr lang="fr-FR" dirty="0"/>
              <a:t>)</a:t>
            </a:r>
          </a:p>
          <a:p>
            <a:r>
              <a:rPr lang="fr-FR" dirty="0"/>
              <a:t>Un </a:t>
            </a:r>
            <a:r>
              <a:rPr lang="fr-FR" b="1" dirty="0"/>
              <a:t>abonnement mensuel de 100 DT</a:t>
            </a:r>
            <a:r>
              <a:rPr lang="fr-FR" dirty="0"/>
              <a:t> pour les prestataires qui veulent des options avancées</a:t>
            </a:r>
          </a:p>
        </p:txBody>
      </p:sp>
      <p:sp>
        <p:nvSpPr>
          <p:cNvPr id="4" name="Slide Number Placeholder 3">
            <a:extLst>
              <a:ext uri="{FF2B5EF4-FFF2-40B4-BE49-F238E27FC236}">
                <a16:creationId xmlns:a16="http://schemas.microsoft.com/office/drawing/2014/main" id="{787795F6-6320-A82B-80A0-1AD8F3B34A87}"/>
              </a:ext>
            </a:extLst>
          </p:cNvPr>
          <p:cNvSpPr>
            <a:spLocks noGrp="1"/>
          </p:cNvSpPr>
          <p:nvPr>
            <p:ph type="sldNum" sz="quarter" idx="5"/>
          </p:nvPr>
        </p:nvSpPr>
        <p:spPr/>
        <p:txBody>
          <a:bodyPr/>
          <a:lstStyle/>
          <a:p>
            <a:fld id="{80727244-25DA-4FDD-ADED-482C09915D8A}" type="slidenum">
              <a:rPr lang="en-GB" smtClean="0"/>
              <a:t>36</a:t>
            </a:fld>
            <a:endParaRPr lang="en-GB"/>
          </a:p>
        </p:txBody>
      </p:sp>
    </p:spTree>
    <p:extLst>
      <p:ext uri="{BB962C8B-B14F-4D97-AF65-F5344CB8AC3E}">
        <p14:creationId xmlns:p14="http://schemas.microsoft.com/office/powerpoint/2010/main" val="406734126"/>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Zahia :</a:t>
            </a:r>
          </a:p>
          <a:p>
            <a:r>
              <a:rPr lang="fr-FR" dirty="0"/>
              <a:t>Pour bien comprendre notre projet, il est important de rappeler ce que sont les normes ISO. Ce sont des standards internationaux qui unifient les meilleures pratiques dans des domaines variés comme la qualité, la sécurité ou l'environnement. Un audit est donc un processus d'évaluation qui permet de vérifier si une entreprise respecte bien ces normes. C'est une étape clé pour obtenir une certification et garantir la confiance de ses partenaires.</a:t>
            </a:r>
          </a:p>
        </p:txBody>
      </p:sp>
      <p:sp>
        <p:nvSpPr>
          <p:cNvPr id="4" name="Slide Number Placeholder 3"/>
          <p:cNvSpPr>
            <a:spLocks noGrp="1"/>
          </p:cNvSpPr>
          <p:nvPr>
            <p:ph type="sldNum" sz="quarter" idx="5"/>
          </p:nvPr>
        </p:nvSpPr>
        <p:spPr/>
        <p:txBody>
          <a:bodyPr/>
          <a:lstStyle/>
          <a:p>
            <a:fld id="{80727244-25DA-4FDD-ADED-482C09915D8A}" type="slidenum">
              <a:rPr lang="en-GB" smtClean="0"/>
              <a:t>3</a:t>
            </a:fld>
            <a:endParaRPr lang="en-GB"/>
          </a:p>
        </p:txBody>
      </p:sp>
    </p:spTree>
    <p:extLst>
      <p:ext uri="{BB962C8B-B14F-4D97-AF65-F5344CB8AC3E}">
        <p14:creationId xmlns:p14="http://schemas.microsoft.com/office/powerpoint/2010/main" val="28273410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9A6D3F-C3AA-A05B-DEDE-0E530C96C1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0BE301-414F-AFC2-166A-53120E0360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AD68D7-7E47-5D96-691E-C4CE59D15650}"/>
              </a:ext>
            </a:extLst>
          </p:cNvPr>
          <p:cNvSpPr>
            <a:spLocks noGrp="1"/>
          </p:cNvSpPr>
          <p:nvPr>
            <p:ph type="body" idx="1"/>
          </p:nvPr>
        </p:nvSpPr>
        <p:spPr/>
        <p:txBody>
          <a:bodyPr/>
          <a:lstStyle/>
          <a:p>
            <a:r>
              <a:rPr lang="fr-FR" sz="1200" kern="1200" dirty="0">
                <a:solidFill>
                  <a:schemeClr val="tx1"/>
                </a:solidFill>
                <a:effectLst/>
                <a:latin typeface="+mn-lt"/>
                <a:ea typeface="+mn-ea"/>
                <a:cs typeface="+mn-cs"/>
              </a:rPr>
              <a:t>Avec un prix moyen de 82 dinars par cabane et 32dt pour </a:t>
            </a:r>
            <a:r>
              <a:rPr lang="fr-FR" sz="1200" kern="1200" dirty="0" err="1">
                <a:solidFill>
                  <a:schemeClr val="tx1"/>
                </a:solidFill>
                <a:effectLst/>
                <a:latin typeface="+mn-lt"/>
                <a:ea typeface="+mn-ea"/>
                <a:cs typeface="+mn-cs"/>
              </a:rPr>
              <a:t>activite</a:t>
            </a:r>
            <a:r>
              <a:rPr lang="fr-FR" sz="1200" kern="1200" dirty="0">
                <a:solidFill>
                  <a:schemeClr val="tx1"/>
                </a:solidFill>
                <a:effectLst/>
                <a:latin typeface="+mn-lt"/>
                <a:ea typeface="+mn-ea"/>
                <a:cs typeface="+mn-cs"/>
              </a:rPr>
              <a:t> cela nous permet d’estimer un chiffre d’affaires net de plus de 148 000 </a:t>
            </a:r>
            <a:endParaRPr lang="fr-TN" dirty="0"/>
          </a:p>
        </p:txBody>
      </p:sp>
      <p:sp>
        <p:nvSpPr>
          <p:cNvPr id="4" name="Slide Number Placeholder 3">
            <a:extLst>
              <a:ext uri="{FF2B5EF4-FFF2-40B4-BE49-F238E27FC236}">
                <a16:creationId xmlns:a16="http://schemas.microsoft.com/office/drawing/2014/main" id="{C64C0F1B-7051-8CBA-700F-CD995A16D344}"/>
              </a:ext>
            </a:extLst>
          </p:cNvPr>
          <p:cNvSpPr>
            <a:spLocks noGrp="1"/>
          </p:cNvSpPr>
          <p:nvPr>
            <p:ph type="sldNum" sz="quarter" idx="5"/>
          </p:nvPr>
        </p:nvSpPr>
        <p:spPr/>
        <p:txBody>
          <a:bodyPr/>
          <a:lstStyle/>
          <a:p>
            <a:fld id="{80727244-25DA-4FDD-ADED-482C09915D8A}" type="slidenum">
              <a:rPr lang="en-GB" smtClean="0"/>
              <a:t>37</a:t>
            </a:fld>
            <a:endParaRPr lang="en-GB"/>
          </a:p>
        </p:txBody>
      </p:sp>
    </p:spTree>
    <p:extLst>
      <p:ext uri="{BB962C8B-B14F-4D97-AF65-F5344CB8AC3E}">
        <p14:creationId xmlns:p14="http://schemas.microsoft.com/office/powerpoint/2010/main" val="15532104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FD5B8-C8B1-12BB-DB02-C1B42A0E44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0CBF61-6A26-2052-6B8C-DA08391B75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BDCD17-00C1-038B-C425-FE40D85B4C92}"/>
              </a:ext>
            </a:extLst>
          </p:cNvPr>
          <p:cNvSpPr>
            <a:spLocks noGrp="1"/>
          </p:cNvSpPr>
          <p:nvPr>
            <p:ph type="body" idx="1"/>
          </p:nvPr>
        </p:nvSpPr>
        <p:spPr/>
        <p:txBody>
          <a:bodyPr/>
          <a:lstStyle/>
          <a:p>
            <a:r>
              <a:rPr lang="fr-FR" sz="1200" kern="1200" dirty="0">
                <a:solidFill>
                  <a:schemeClr val="tx1"/>
                </a:solidFill>
                <a:effectLst/>
                <a:latin typeface="+mn-lt"/>
                <a:ea typeface="+mn-ea"/>
                <a:cs typeface="+mn-cs"/>
              </a:rPr>
              <a:t>Pour atteindre ce chiffre d’affaires, un investissement de départ d’environ 118 000 dinars est nécessaire. Ce budget couvre le développement de la plateforme, le lancement commercial et le fonds de roulement pour la première saison</a:t>
            </a:r>
          </a:p>
        </p:txBody>
      </p:sp>
      <p:sp>
        <p:nvSpPr>
          <p:cNvPr id="4" name="Slide Number Placeholder 3">
            <a:extLst>
              <a:ext uri="{FF2B5EF4-FFF2-40B4-BE49-F238E27FC236}">
                <a16:creationId xmlns:a16="http://schemas.microsoft.com/office/drawing/2014/main" id="{09491299-AFFA-15D7-489F-412AF0110274}"/>
              </a:ext>
            </a:extLst>
          </p:cNvPr>
          <p:cNvSpPr>
            <a:spLocks noGrp="1"/>
          </p:cNvSpPr>
          <p:nvPr>
            <p:ph type="sldNum" sz="quarter" idx="5"/>
          </p:nvPr>
        </p:nvSpPr>
        <p:spPr/>
        <p:txBody>
          <a:bodyPr/>
          <a:lstStyle/>
          <a:p>
            <a:fld id="{80727244-25DA-4FDD-ADED-482C09915D8A}" type="slidenum">
              <a:rPr lang="en-GB" smtClean="0"/>
              <a:t>38</a:t>
            </a:fld>
            <a:endParaRPr lang="en-GB"/>
          </a:p>
        </p:txBody>
      </p:sp>
    </p:spTree>
    <p:extLst>
      <p:ext uri="{BB962C8B-B14F-4D97-AF65-F5344CB8AC3E}">
        <p14:creationId xmlns:p14="http://schemas.microsoft.com/office/powerpoint/2010/main" val="323745635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B328A9-DF9D-5EB1-36C3-34FD6D8D7C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545139-E0CF-12C5-BCAA-F940B0153C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A00CCC-93DC-454C-F55B-358E72ABF797}"/>
              </a:ext>
            </a:extLst>
          </p:cNvPr>
          <p:cNvSpPr>
            <a:spLocks noGrp="1"/>
          </p:cNvSpPr>
          <p:nvPr>
            <p:ph type="body" idx="1"/>
          </p:nvPr>
        </p:nvSpPr>
        <p:spPr/>
        <p:txBody>
          <a:bodyPr/>
          <a:lstStyle/>
          <a:p>
            <a:r>
              <a:rPr lang="fr-FR" sz="1200" kern="1200" dirty="0">
                <a:solidFill>
                  <a:schemeClr val="tx1"/>
                </a:solidFill>
                <a:effectLst/>
                <a:latin typeface="+mn-lt"/>
                <a:ea typeface="+mn-ea"/>
                <a:cs typeface="+mn-cs"/>
              </a:rPr>
              <a:t>Notre plan de financement prévoit un apport personnel de 16 % pour montrer notre engagement, et un emprunt bancaire de 100 000 dinars auprès de la STB, à rembourser sur 4 ans.</a:t>
            </a:r>
          </a:p>
        </p:txBody>
      </p:sp>
      <p:sp>
        <p:nvSpPr>
          <p:cNvPr id="4" name="Slide Number Placeholder 3">
            <a:extLst>
              <a:ext uri="{FF2B5EF4-FFF2-40B4-BE49-F238E27FC236}">
                <a16:creationId xmlns:a16="http://schemas.microsoft.com/office/drawing/2014/main" id="{40C450F6-8BC1-3257-744B-9143D986BB43}"/>
              </a:ext>
            </a:extLst>
          </p:cNvPr>
          <p:cNvSpPr>
            <a:spLocks noGrp="1"/>
          </p:cNvSpPr>
          <p:nvPr>
            <p:ph type="sldNum" sz="quarter" idx="5"/>
          </p:nvPr>
        </p:nvSpPr>
        <p:spPr/>
        <p:txBody>
          <a:bodyPr/>
          <a:lstStyle/>
          <a:p>
            <a:fld id="{80727244-25DA-4FDD-ADED-482C09915D8A}" type="slidenum">
              <a:rPr lang="en-GB" smtClean="0"/>
              <a:t>39</a:t>
            </a:fld>
            <a:endParaRPr lang="en-GB"/>
          </a:p>
        </p:txBody>
      </p:sp>
    </p:spTree>
    <p:extLst>
      <p:ext uri="{BB962C8B-B14F-4D97-AF65-F5344CB8AC3E}">
        <p14:creationId xmlns:p14="http://schemas.microsoft.com/office/powerpoint/2010/main" val="231453287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2FA482-E4D8-4FB9-A075-8DEE75E9C1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FF1EF8-1E97-8FFE-F805-FDA892007E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C3C1EF-F78A-54BC-502C-1771531DDDB8}"/>
              </a:ext>
            </a:extLst>
          </p:cNvPr>
          <p:cNvSpPr>
            <a:spLocks noGrp="1"/>
          </p:cNvSpPr>
          <p:nvPr>
            <p:ph type="body" idx="1"/>
          </p:nvPr>
        </p:nvSpPr>
        <p:spPr/>
        <p:txBody>
          <a:bodyPr/>
          <a:lstStyle/>
          <a:p>
            <a:r>
              <a:rPr lang="fr-FR" sz="1200" kern="1200" dirty="0">
                <a:solidFill>
                  <a:schemeClr val="tx1"/>
                </a:solidFill>
                <a:effectLst/>
                <a:latin typeface="+mn-lt"/>
                <a:ea typeface="+mn-ea"/>
                <a:cs typeface="+mn-cs"/>
              </a:rPr>
              <a:t>Ces projections nous ont permis d'établir une trésorerie prévisionnelle</a:t>
            </a:r>
          </a:p>
        </p:txBody>
      </p:sp>
      <p:sp>
        <p:nvSpPr>
          <p:cNvPr id="4" name="Slide Number Placeholder 3">
            <a:extLst>
              <a:ext uri="{FF2B5EF4-FFF2-40B4-BE49-F238E27FC236}">
                <a16:creationId xmlns:a16="http://schemas.microsoft.com/office/drawing/2014/main" id="{F77D0D04-EAC4-E6EB-6392-476C9BADBF89}"/>
              </a:ext>
            </a:extLst>
          </p:cNvPr>
          <p:cNvSpPr>
            <a:spLocks noGrp="1"/>
          </p:cNvSpPr>
          <p:nvPr>
            <p:ph type="sldNum" sz="quarter" idx="5"/>
          </p:nvPr>
        </p:nvSpPr>
        <p:spPr/>
        <p:txBody>
          <a:bodyPr/>
          <a:lstStyle/>
          <a:p>
            <a:fld id="{80727244-25DA-4FDD-ADED-482C09915D8A}" type="slidenum">
              <a:rPr lang="en-GB" smtClean="0"/>
              <a:t>40</a:t>
            </a:fld>
            <a:endParaRPr lang="en-GB"/>
          </a:p>
        </p:txBody>
      </p:sp>
    </p:spTree>
    <p:extLst>
      <p:ext uri="{BB962C8B-B14F-4D97-AF65-F5344CB8AC3E}">
        <p14:creationId xmlns:p14="http://schemas.microsoft.com/office/powerpoint/2010/main" val="25957017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99A1A1-8979-53CE-F7AB-624368238C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13DEAC-5D63-7AE1-53DB-5EDC25CC47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E840C5-22C7-A5F4-C15D-5CAC521D6CDC}"/>
              </a:ext>
            </a:extLst>
          </p:cNvPr>
          <p:cNvSpPr>
            <a:spLocks noGrp="1"/>
          </p:cNvSpPr>
          <p:nvPr>
            <p:ph type="body" idx="1"/>
          </p:nvPr>
        </p:nvSpPr>
        <p:spPr/>
        <p:txBody>
          <a:bodyPr/>
          <a:lstStyle/>
          <a:p>
            <a:r>
              <a:rPr lang="fr-FR" sz="1200" kern="1200" dirty="0">
                <a:solidFill>
                  <a:schemeClr val="tx1"/>
                </a:solidFill>
                <a:effectLst/>
                <a:latin typeface="+mn-lt"/>
                <a:ea typeface="+mn-ea"/>
                <a:cs typeface="+mn-cs"/>
              </a:rPr>
              <a:t>Notre compte de résultat prévisionnel montre que, malgré les coûts liés au lancement, le projet devient rentable dès la deuxième année. </a:t>
            </a:r>
            <a:endParaRPr lang="fr-TN" dirty="0"/>
          </a:p>
        </p:txBody>
      </p:sp>
      <p:sp>
        <p:nvSpPr>
          <p:cNvPr id="4" name="Slide Number Placeholder 3">
            <a:extLst>
              <a:ext uri="{FF2B5EF4-FFF2-40B4-BE49-F238E27FC236}">
                <a16:creationId xmlns:a16="http://schemas.microsoft.com/office/drawing/2014/main" id="{CC911E4E-F538-7D05-9BEB-91BA08787E8B}"/>
              </a:ext>
            </a:extLst>
          </p:cNvPr>
          <p:cNvSpPr>
            <a:spLocks noGrp="1"/>
          </p:cNvSpPr>
          <p:nvPr>
            <p:ph type="sldNum" sz="quarter" idx="5"/>
          </p:nvPr>
        </p:nvSpPr>
        <p:spPr/>
        <p:txBody>
          <a:bodyPr/>
          <a:lstStyle/>
          <a:p>
            <a:fld id="{80727244-25DA-4FDD-ADED-482C09915D8A}" type="slidenum">
              <a:rPr lang="en-GB" smtClean="0"/>
              <a:t>41</a:t>
            </a:fld>
            <a:endParaRPr lang="en-GB"/>
          </a:p>
        </p:txBody>
      </p:sp>
    </p:spTree>
    <p:extLst>
      <p:ext uri="{BB962C8B-B14F-4D97-AF65-F5344CB8AC3E}">
        <p14:creationId xmlns:p14="http://schemas.microsoft.com/office/powerpoint/2010/main" val="19465235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9E5F23-64E1-BD17-08BC-14414ECC32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F3D4A8-ADFD-45F3-2B01-8A3136FE15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C8C82D-15D0-8ED0-2F9F-1FFCE0168B5D}"/>
              </a:ext>
            </a:extLst>
          </p:cNvPr>
          <p:cNvSpPr>
            <a:spLocks noGrp="1"/>
          </p:cNvSpPr>
          <p:nvPr>
            <p:ph type="body" idx="1"/>
          </p:nvPr>
        </p:nvSpPr>
        <p:spPr/>
        <p:txBody>
          <a:bodyPr/>
          <a:lstStyle/>
          <a:p>
            <a:r>
              <a:rPr lang="fr-FR" sz="1200" kern="1200" dirty="0">
                <a:solidFill>
                  <a:schemeClr val="tx1"/>
                </a:solidFill>
                <a:effectLst/>
                <a:latin typeface="+mn-lt"/>
                <a:ea typeface="+mn-ea"/>
                <a:cs typeface="+mn-cs"/>
              </a:rPr>
              <a:t>VAN=45000 </a:t>
            </a:r>
            <a:r>
              <a:rPr lang="fr-FR" sz="1200" kern="1200" dirty="0">
                <a:solidFill>
                  <a:schemeClr val="tx1"/>
                </a:solidFill>
                <a:effectLst/>
                <a:latin typeface="+mn-lt"/>
                <a:ea typeface="+mn-ea"/>
                <a:cs typeface="+mn-cs"/>
                <a:sym typeface="Wingdings" panose="05000000000000000000" pitchFamily="2" charset="2"/>
              </a:rPr>
              <a:t></a:t>
            </a:r>
            <a:r>
              <a:rPr lang="fr-FR" sz="1200" b="1" kern="1200" dirty="0">
                <a:solidFill>
                  <a:schemeClr val="tx1"/>
                </a:solidFill>
                <a:effectLst/>
                <a:latin typeface="+mn-lt"/>
                <a:ea typeface="+mn-ea"/>
                <a:cs typeface="+mn-cs"/>
              </a:rPr>
              <a:t>ce qui signifie que le projet crée de la valeur</a:t>
            </a:r>
          </a:p>
          <a:p>
            <a:r>
              <a:rPr lang="fr-FR" sz="1200" kern="1200" dirty="0">
                <a:solidFill>
                  <a:schemeClr val="tx1"/>
                </a:solidFill>
                <a:effectLst/>
                <a:latin typeface="+mn-lt"/>
                <a:ea typeface="+mn-ea"/>
                <a:cs typeface="+mn-cs"/>
              </a:rPr>
              <a:t>TRI=23,89% -&gt; </a:t>
            </a:r>
            <a:r>
              <a:rPr lang="fr-FR" sz="1200" b="1" kern="1200" dirty="0">
                <a:solidFill>
                  <a:schemeClr val="tx1"/>
                </a:solidFill>
                <a:effectLst/>
                <a:latin typeface="+mn-lt"/>
                <a:ea typeface="+mn-ea"/>
                <a:cs typeface="+mn-cs"/>
              </a:rPr>
              <a:t>Ce taux est largement supérieur au coût de l’emprunt, ce qui démontre la forte rentabilité du projet.</a:t>
            </a:r>
          </a:p>
          <a:p>
            <a:r>
              <a:rPr lang="fr-FR" sz="1200" b="0" kern="1200" dirty="0">
                <a:solidFill>
                  <a:schemeClr val="tx1"/>
                </a:solidFill>
                <a:effectLst/>
                <a:latin typeface="+mn-lt"/>
                <a:ea typeface="+mn-ea"/>
                <a:cs typeface="+mn-cs"/>
              </a:rPr>
              <a:t>DRCI-&gt;</a:t>
            </a:r>
            <a:r>
              <a:rPr lang="fr-FR" sz="1200" b="1" kern="1200" dirty="0">
                <a:solidFill>
                  <a:schemeClr val="tx1"/>
                </a:solidFill>
                <a:effectLst/>
                <a:latin typeface="+mn-lt"/>
                <a:ea typeface="+mn-ea"/>
                <a:cs typeface="+mn-cs"/>
              </a:rPr>
              <a:t>C'est un délai tout à fait raisonnable pour une startup digitale.</a:t>
            </a:r>
            <a:endParaRPr lang="fr-FR" sz="1200" kern="1200" dirty="0">
              <a:solidFill>
                <a:schemeClr val="tx1"/>
              </a:solidFill>
              <a:effectLst/>
              <a:latin typeface="+mn-lt"/>
              <a:ea typeface="+mn-ea"/>
              <a:cs typeface="+mn-cs"/>
            </a:endParaRPr>
          </a:p>
        </p:txBody>
      </p:sp>
      <p:sp>
        <p:nvSpPr>
          <p:cNvPr id="4" name="Slide Number Placeholder 3">
            <a:extLst>
              <a:ext uri="{FF2B5EF4-FFF2-40B4-BE49-F238E27FC236}">
                <a16:creationId xmlns:a16="http://schemas.microsoft.com/office/drawing/2014/main" id="{AF0BA322-B760-AAB6-FC37-A9B9CE1D744C}"/>
              </a:ext>
            </a:extLst>
          </p:cNvPr>
          <p:cNvSpPr>
            <a:spLocks noGrp="1"/>
          </p:cNvSpPr>
          <p:nvPr>
            <p:ph type="sldNum" sz="quarter" idx="5"/>
          </p:nvPr>
        </p:nvSpPr>
        <p:spPr/>
        <p:txBody>
          <a:bodyPr/>
          <a:lstStyle/>
          <a:p>
            <a:fld id="{80727244-25DA-4FDD-ADED-482C09915D8A}" type="slidenum">
              <a:rPr lang="en-GB" smtClean="0"/>
              <a:t>42</a:t>
            </a:fld>
            <a:endParaRPr lang="en-GB"/>
          </a:p>
        </p:txBody>
      </p:sp>
    </p:spTree>
    <p:extLst>
      <p:ext uri="{BB962C8B-B14F-4D97-AF65-F5344CB8AC3E}">
        <p14:creationId xmlns:p14="http://schemas.microsoft.com/office/powerpoint/2010/main" val="979459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effectLst/>
              </a:rPr>
              <a:t>Pour conclure, </a:t>
            </a:r>
            <a:r>
              <a:rPr lang="fr-FR" b="1" dirty="0" err="1">
                <a:effectLst/>
              </a:rPr>
              <a:t>Cabinoo</a:t>
            </a:r>
            <a:r>
              <a:rPr lang="fr-FR" dirty="0">
                <a:effectLst/>
              </a:rPr>
              <a:t> repose sur </a:t>
            </a:r>
            <a:r>
              <a:rPr lang="fr-FR" b="1" dirty="0">
                <a:effectLst/>
              </a:rPr>
              <a:t>quatre piliers clés</a:t>
            </a:r>
            <a:r>
              <a:rPr lang="fr-FR" dirty="0">
                <a:effectLst/>
              </a:rPr>
              <a:t> :</a:t>
            </a:r>
          </a:p>
        </p:txBody>
      </p:sp>
      <p:sp>
        <p:nvSpPr>
          <p:cNvPr id="4" name="Slide Number Placeholder 3"/>
          <p:cNvSpPr>
            <a:spLocks noGrp="1"/>
          </p:cNvSpPr>
          <p:nvPr>
            <p:ph type="sldNum" sz="quarter" idx="5"/>
          </p:nvPr>
        </p:nvSpPr>
        <p:spPr/>
        <p:txBody>
          <a:bodyPr/>
          <a:lstStyle/>
          <a:p>
            <a:fld id="{80727244-25DA-4FDD-ADED-482C09915D8A}" type="slidenum">
              <a:rPr lang="en-GB" smtClean="0"/>
              <a:t>44</a:t>
            </a:fld>
            <a:endParaRPr lang="en-GB"/>
          </a:p>
        </p:txBody>
      </p:sp>
    </p:spTree>
    <p:extLst>
      <p:ext uri="{BB962C8B-B14F-4D97-AF65-F5344CB8AC3E}">
        <p14:creationId xmlns:p14="http://schemas.microsoft.com/office/powerpoint/2010/main" val="33191714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a:effectLst/>
              </a:rPr>
              <a:t>Après avoir posé les bases de notre projet, il est temps de regarder vers l’avenir.</a:t>
            </a:r>
            <a:br>
              <a:rPr lang="fr-FR" dirty="0">
                <a:effectLst/>
              </a:rPr>
            </a:br>
            <a:r>
              <a:rPr lang="fr-FR">
                <a:effectLst/>
              </a:rPr>
              <a:t>Nos ambitions sont claires et alignées avec notre mission :</a:t>
            </a:r>
          </a:p>
        </p:txBody>
      </p:sp>
      <p:sp>
        <p:nvSpPr>
          <p:cNvPr id="4" name="Slide Number Placeholder 3"/>
          <p:cNvSpPr>
            <a:spLocks noGrp="1"/>
          </p:cNvSpPr>
          <p:nvPr>
            <p:ph type="sldNum" sz="quarter" idx="5"/>
          </p:nvPr>
        </p:nvSpPr>
        <p:spPr/>
        <p:txBody>
          <a:bodyPr/>
          <a:lstStyle/>
          <a:p>
            <a:fld id="{80727244-25DA-4FDD-ADED-482C09915D8A}" type="slidenum">
              <a:rPr lang="en-GB" smtClean="0"/>
              <a:t>45</a:t>
            </a:fld>
            <a:endParaRPr lang="en-GB"/>
          </a:p>
        </p:txBody>
      </p:sp>
    </p:spTree>
    <p:extLst>
      <p:ext uri="{BB962C8B-B14F-4D97-AF65-F5344CB8AC3E}">
        <p14:creationId xmlns:p14="http://schemas.microsoft.com/office/powerpoint/2010/main" val="20621421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80D5C7-8F7E-5E37-3946-6AB3F72911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F7199A-E98A-877D-CD80-EAE17027C6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C67141-1C38-515D-BA88-DFB559BAFE7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err="1"/>
              <a:t>Khaled:Aujourd’hui</a:t>
            </a:r>
            <a:r>
              <a:rPr lang="fr-FR" dirty="0"/>
              <a:t>, le secteur des loisirs en bord de mer en Tunisie présente de nombreuses difficultés, aussi bien pour les clients que pour les prestatair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Slide Number Placeholder 3">
            <a:extLst>
              <a:ext uri="{FF2B5EF4-FFF2-40B4-BE49-F238E27FC236}">
                <a16:creationId xmlns:a16="http://schemas.microsoft.com/office/drawing/2014/main" id="{C7CE01A8-ADA3-0E09-4AA8-6ED03D4E7FFF}"/>
              </a:ext>
            </a:extLst>
          </p:cNvPr>
          <p:cNvSpPr>
            <a:spLocks noGrp="1"/>
          </p:cNvSpPr>
          <p:nvPr>
            <p:ph type="sldNum" sz="quarter" idx="5"/>
          </p:nvPr>
        </p:nvSpPr>
        <p:spPr/>
        <p:txBody>
          <a:bodyPr/>
          <a:lstStyle/>
          <a:p>
            <a:fld id="{80727244-25DA-4FDD-ADED-482C09915D8A}" type="slidenum">
              <a:rPr lang="en-GB" smtClean="0"/>
              <a:t>4</a:t>
            </a:fld>
            <a:endParaRPr lang="en-GB"/>
          </a:p>
        </p:txBody>
      </p:sp>
    </p:spTree>
    <p:extLst>
      <p:ext uri="{BB962C8B-B14F-4D97-AF65-F5344CB8AC3E}">
        <p14:creationId xmlns:p14="http://schemas.microsoft.com/office/powerpoint/2010/main" val="425824654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Ce projet de fin d'études a été une expérience extrêmement formatrice, nous permettant d'appliquer nos compétences techniques et méthodologiques à un besoin métier concret et de livrer un produit final opérationnel.</a:t>
            </a:r>
          </a:p>
          <a:p>
            <a:endParaRPr lang="fr-FR" dirty="0"/>
          </a:p>
          <a:p>
            <a:r>
              <a:rPr lang="fr-FR" dirty="0"/>
              <a:t>Nous vous remercions pour votre attention et nous sommes maintenant à votre disposition pour répondre à toutes vos questions.</a:t>
            </a:r>
            <a:endParaRPr lang="fr-TN" dirty="0"/>
          </a:p>
        </p:txBody>
      </p:sp>
      <p:sp>
        <p:nvSpPr>
          <p:cNvPr id="4" name="Slide Number Placeholder 3"/>
          <p:cNvSpPr>
            <a:spLocks noGrp="1"/>
          </p:cNvSpPr>
          <p:nvPr>
            <p:ph type="sldNum" sz="quarter" idx="5"/>
          </p:nvPr>
        </p:nvSpPr>
        <p:spPr/>
        <p:txBody>
          <a:bodyPr/>
          <a:lstStyle/>
          <a:p>
            <a:fld id="{80727244-25DA-4FDD-ADED-482C09915D8A}" type="slidenum">
              <a:rPr lang="en-GB" smtClean="0"/>
              <a:t>46</a:t>
            </a:fld>
            <a:endParaRPr lang="en-GB"/>
          </a:p>
        </p:txBody>
      </p:sp>
    </p:spTree>
    <p:extLst>
      <p:ext uri="{BB962C8B-B14F-4D97-AF65-F5344CB8AC3E}">
        <p14:creationId xmlns:p14="http://schemas.microsoft.com/office/powerpoint/2010/main" val="20113466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Amir :</a:t>
            </a:r>
          </a:p>
          <a:p>
            <a:r>
              <a:rPr lang="fr-FR" dirty="0"/>
              <a:t>Face à cette problématique, nous avons conçu et développé une solution : AuditLynk. C'est une application web et mobile intelligente qui assiste les auditeurs à chaque étape de leur mission.</a:t>
            </a:r>
          </a:p>
          <a:p>
            <a:r>
              <a:rPr lang="fr-FR" dirty="0"/>
              <a:t>AuditLynk permet trois choses fondamentales :</a:t>
            </a:r>
          </a:p>
          <a:p>
            <a:endParaRPr lang="fr-FR" dirty="0"/>
          </a:p>
          <a:p>
            <a:r>
              <a:rPr lang="fr-FR" dirty="0"/>
              <a:t>Une digitalisation complète du processus : de la transcription audio en direct à la génération du rapport final.</a:t>
            </a:r>
          </a:p>
          <a:p>
            <a:endParaRPr lang="fr-FR" dirty="0"/>
          </a:p>
          <a:p>
            <a:r>
              <a:rPr lang="fr-FR" dirty="0"/>
              <a:t>L'intégration de l'intelligence artificielle pour générer des résumés, suggérer des questions et créer des rapports.</a:t>
            </a:r>
          </a:p>
          <a:p>
            <a:endParaRPr lang="fr-FR" dirty="0"/>
          </a:p>
          <a:p>
            <a:r>
              <a:rPr lang="fr-FR" dirty="0"/>
              <a:t>Le tout sur une plateforme intuitive, accessible partout et à tout moment.</a:t>
            </a:r>
          </a:p>
          <a:p>
            <a:endParaRPr lang="fr-TN" dirty="0"/>
          </a:p>
        </p:txBody>
      </p:sp>
      <p:sp>
        <p:nvSpPr>
          <p:cNvPr id="4" name="Slide Number Placeholder 3"/>
          <p:cNvSpPr>
            <a:spLocks noGrp="1"/>
          </p:cNvSpPr>
          <p:nvPr>
            <p:ph type="sldNum" sz="quarter" idx="5"/>
          </p:nvPr>
        </p:nvSpPr>
        <p:spPr/>
        <p:txBody>
          <a:bodyPr/>
          <a:lstStyle/>
          <a:p>
            <a:fld id="{80727244-25DA-4FDD-ADED-482C09915D8A}" type="slidenum">
              <a:rPr lang="en-GB" smtClean="0"/>
              <a:t>5</a:t>
            </a:fld>
            <a:endParaRPr lang="en-GB"/>
          </a:p>
        </p:txBody>
      </p:sp>
    </p:spTree>
    <p:extLst>
      <p:ext uri="{BB962C8B-B14F-4D97-AF65-F5344CB8AC3E}">
        <p14:creationId xmlns:p14="http://schemas.microsoft.com/office/powerpoint/2010/main" val="416394113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Zahia :</a:t>
            </a:r>
          </a:p>
          <a:p>
            <a:r>
              <a:rPr lang="fr-FR" dirty="0"/>
              <a:t>Notre projet a été mené au sein de IFB Consulting, une société de conseil dont la mission est d'accompagner les entreprises dans leur démarche de certification ISO. Leur activité principale repose sur le conseil, l'audit et la formation, avec pour objectif d'améliorer les performances et la conformité de leurs clients.</a:t>
            </a:r>
          </a:p>
        </p:txBody>
      </p:sp>
      <p:sp>
        <p:nvSpPr>
          <p:cNvPr id="4" name="Slide Number Placeholder 3"/>
          <p:cNvSpPr>
            <a:spLocks noGrp="1"/>
          </p:cNvSpPr>
          <p:nvPr>
            <p:ph type="sldNum" sz="quarter" idx="5"/>
          </p:nvPr>
        </p:nvSpPr>
        <p:spPr/>
        <p:txBody>
          <a:bodyPr/>
          <a:lstStyle/>
          <a:p>
            <a:fld id="{80727244-25DA-4FDD-ADED-482C09915D8A}" type="slidenum">
              <a:rPr lang="en-GB" smtClean="0"/>
              <a:t>5</a:t>
            </a:fld>
            <a:endParaRPr lang="en-GB"/>
          </a:p>
        </p:txBody>
      </p:sp>
    </p:spTree>
    <p:extLst>
      <p:ext uri="{BB962C8B-B14F-4D97-AF65-F5344CB8AC3E}">
        <p14:creationId xmlns:p14="http://schemas.microsoft.com/office/powerpoint/2010/main" val="33712990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err="1"/>
              <a:t>Khaled:</a:t>
            </a:r>
            <a:r>
              <a:rPr lang="fr-FR" dirty="0" err="1">
                <a:effectLst/>
              </a:rPr>
              <a:t>Face</a:t>
            </a:r>
            <a:r>
              <a:rPr lang="fr-FR" dirty="0">
                <a:effectLst/>
              </a:rPr>
              <a:t> à cette problématique, nous avons conçu </a:t>
            </a:r>
            <a:r>
              <a:rPr lang="fr-FR" dirty="0" err="1">
                <a:effectLst/>
              </a:rPr>
              <a:t>Cabinoo</a:t>
            </a:r>
            <a:r>
              <a:rPr lang="fr-FR" dirty="0">
                <a:effectLst/>
              </a:rPr>
              <a:t> : une plateforme digitale simple, efficace et accessible sur le web comme sur mobile.</a:t>
            </a:r>
            <a:br>
              <a:rPr lang="fr-FR" dirty="0">
                <a:effectLst/>
              </a:rPr>
            </a:br>
            <a:r>
              <a:rPr lang="fr-FR" dirty="0" err="1">
                <a:effectLst/>
              </a:rPr>
              <a:t>Cabinoo</a:t>
            </a:r>
            <a:r>
              <a:rPr lang="fr-FR" dirty="0">
                <a:effectLst/>
              </a:rPr>
              <a:t> centralise toutes les offres, permet une </a:t>
            </a:r>
            <a:r>
              <a:rPr lang="fr-FR" b="1" dirty="0">
                <a:effectLst/>
              </a:rPr>
              <a:t>réservation instantanée et sécurisée</a:t>
            </a:r>
            <a:r>
              <a:rPr lang="fr-FR" dirty="0">
                <a:effectLst/>
              </a:rPr>
              <a:t>, et offre aux professionnels des </a:t>
            </a:r>
            <a:r>
              <a:rPr lang="fr-FR" b="1" dirty="0">
                <a:effectLst/>
              </a:rPr>
              <a:t>outils de gestion intelligents</a:t>
            </a:r>
            <a:r>
              <a:rPr lang="fr-FR" dirty="0">
                <a:effectLst/>
              </a:rPr>
              <a:t> pour les aider à mieux travailler. En bref, nous rendons l'expérience plus facile et agréable pour tous.</a:t>
            </a:r>
          </a:p>
          <a:p>
            <a:endParaRPr lang="fr-TN" dirty="0"/>
          </a:p>
        </p:txBody>
      </p:sp>
      <p:sp>
        <p:nvSpPr>
          <p:cNvPr id="4" name="Slide Number Placeholder 3"/>
          <p:cNvSpPr>
            <a:spLocks noGrp="1"/>
          </p:cNvSpPr>
          <p:nvPr>
            <p:ph type="sldNum" sz="quarter" idx="5"/>
          </p:nvPr>
        </p:nvSpPr>
        <p:spPr/>
        <p:txBody>
          <a:bodyPr/>
          <a:lstStyle/>
          <a:p>
            <a:fld id="{80727244-25DA-4FDD-ADED-482C09915D8A}" type="slidenum">
              <a:rPr lang="en-GB" smtClean="0"/>
              <a:t>6</a:t>
            </a:fld>
            <a:endParaRPr lang="en-GB"/>
          </a:p>
        </p:txBody>
      </p:sp>
    </p:spTree>
    <p:extLst>
      <p:ext uri="{BB962C8B-B14F-4D97-AF65-F5344CB8AC3E}">
        <p14:creationId xmlns:p14="http://schemas.microsoft.com/office/powerpoint/2010/main" val="28562547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Amir :</a:t>
            </a:r>
          </a:p>
          <a:p>
            <a:r>
              <a:rPr lang="fr-FR" dirty="0"/>
              <a:t>Lors de notre stage chez IFB Consulting, nous avons analysé leur processus d'audit et identifié une problématique centrale. Les méthodes actuelles sont très traditionnelles et engendrent quatre difficultés majeures :</a:t>
            </a:r>
          </a:p>
          <a:p>
            <a:endParaRPr lang="fr-FR" dirty="0"/>
          </a:p>
          <a:p>
            <a:r>
              <a:rPr lang="fr-FR" dirty="0"/>
              <a:t>Le processus est chronophage, car la prise de notes et la rédaction des rapports mobilisent beaucoup de temps.</a:t>
            </a:r>
          </a:p>
          <a:p>
            <a:endParaRPr lang="fr-FR" dirty="0"/>
          </a:p>
          <a:p>
            <a:r>
              <a:rPr lang="fr-FR" dirty="0"/>
              <a:t>La réalisation est manuelle, ce qui augmente la charge de travail et le risque de fatigue.</a:t>
            </a:r>
          </a:p>
          <a:p>
            <a:endParaRPr lang="fr-FR" dirty="0"/>
          </a:p>
          <a:p>
            <a:r>
              <a:rPr lang="fr-FR" dirty="0"/>
              <a:t>Cela entraîne un risque d'erreurs humaines ou d'oublis d'informations clés.</a:t>
            </a:r>
          </a:p>
          <a:p>
            <a:endParaRPr lang="fr-FR" dirty="0"/>
          </a:p>
          <a:p>
            <a:r>
              <a:rPr lang="fr-FR" dirty="0"/>
              <a:t>Enfin, il y a une absence de solution numérique réellement adaptée à leurs besoins spécifiques.</a:t>
            </a:r>
          </a:p>
          <a:p>
            <a:endParaRPr lang="fr-TN" dirty="0"/>
          </a:p>
        </p:txBody>
      </p:sp>
      <p:sp>
        <p:nvSpPr>
          <p:cNvPr id="4" name="Slide Number Placeholder 3"/>
          <p:cNvSpPr>
            <a:spLocks noGrp="1"/>
          </p:cNvSpPr>
          <p:nvPr>
            <p:ph type="sldNum" sz="quarter" idx="5"/>
          </p:nvPr>
        </p:nvSpPr>
        <p:spPr/>
        <p:txBody>
          <a:bodyPr/>
          <a:lstStyle/>
          <a:p>
            <a:fld id="{80727244-25DA-4FDD-ADED-482C09915D8A}" type="slidenum">
              <a:rPr lang="en-GB" smtClean="0"/>
              <a:t>7</a:t>
            </a:fld>
            <a:endParaRPr lang="en-GB"/>
          </a:p>
        </p:txBody>
      </p:sp>
    </p:spTree>
    <p:extLst>
      <p:ext uri="{BB962C8B-B14F-4D97-AF65-F5344CB8AC3E}">
        <p14:creationId xmlns:p14="http://schemas.microsoft.com/office/powerpoint/2010/main" val="17067843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Amir :</a:t>
            </a:r>
          </a:p>
          <a:p>
            <a:r>
              <a:rPr lang="fr-FR" dirty="0"/>
              <a:t>Face à cette problématique, nous avons conçu et développé une solution : AuditLynk. C'est une application web et mobile intelligente qui assiste les auditeurs à chaque étape de leur mission.</a:t>
            </a:r>
          </a:p>
          <a:p>
            <a:r>
              <a:rPr lang="fr-FR" dirty="0"/>
              <a:t>AuditLynk permet trois choses fondamentales :</a:t>
            </a:r>
          </a:p>
          <a:p>
            <a:endParaRPr lang="fr-FR" dirty="0"/>
          </a:p>
          <a:p>
            <a:r>
              <a:rPr lang="fr-FR" dirty="0"/>
              <a:t>Une digitalisation complète du processus : de la transcription audio en direct à la génération du rapport final.</a:t>
            </a:r>
          </a:p>
          <a:p>
            <a:endParaRPr lang="fr-FR" dirty="0"/>
          </a:p>
          <a:p>
            <a:r>
              <a:rPr lang="fr-FR" dirty="0"/>
              <a:t>L'intégration de l'intelligence artificielle pour générer des résumés, suggérer des questions et créer des rapports.</a:t>
            </a:r>
          </a:p>
          <a:p>
            <a:endParaRPr lang="fr-FR" dirty="0"/>
          </a:p>
          <a:p>
            <a:r>
              <a:rPr lang="fr-FR" dirty="0"/>
              <a:t>Le tout sur une plateforme intuitive, accessible partout et à tout moment.</a:t>
            </a:r>
          </a:p>
          <a:p>
            <a:endParaRPr lang="fr-TN" dirty="0"/>
          </a:p>
        </p:txBody>
      </p:sp>
      <p:sp>
        <p:nvSpPr>
          <p:cNvPr id="4" name="Slide Number Placeholder 3"/>
          <p:cNvSpPr>
            <a:spLocks noGrp="1"/>
          </p:cNvSpPr>
          <p:nvPr>
            <p:ph type="sldNum" sz="quarter" idx="5"/>
          </p:nvPr>
        </p:nvSpPr>
        <p:spPr/>
        <p:txBody>
          <a:bodyPr/>
          <a:lstStyle/>
          <a:p>
            <a:fld id="{80727244-25DA-4FDD-ADED-482C09915D8A}" type="slidenum">
              <a:rPr lang="en-GB" smtClean="0"/>
              <a:t>7</a:t>
            </a:fld>
            <a:endParaRPr lang="en-GB"/>
          </a:p>
        </p:txBody>
      </p:sp>
    </p:spTree>
    <p:extLst>
      <p:ext uri="{BB962C8B-B14F-4D97-AF65-F5344CB8AC3E}">
        <p14:creationId xmlns:p14="http://schemas.microsoft.com/office/powerpoint/2010/main" val="21073550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err="1"/>
              <a:t>Khaled:</a:t>
            </a:r>
            <a:r>
              <a:rPr lang="fr-FR" dirty="0" err="1">
                <a:effectLst/>
              </a:rPr>
              <a:t>Avec</a:t>
            </a:r>
            <a:r>
              <a:rPr lang="fr-FR" dirty="0">
                <a:effectLst/>
              </a:rPr>
              <a:t> </a:t>
            </a:r>
            <a:r>
              <a:rPr lang="fr-FR" dirty="0" err="1">
                <a:effectLst/>
              </a:rPr>
              <a:t>Cabinoo</a:t>
            </a:r>
            <a:r>
              <a:rPr lang="fr-FR" dirty="0">
                <a:effectLst/>
              </a:rPr>
              <a:t>, nos objectifs sont clai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Slide Number Placeholder 3"/>
          <p:cNvSpPr>
            <a:spLocks noGrp="1"/>
          </p:cNvSpPr>
          <p:nvPr>
            <p:ph type="sldNum" sz="quarter" idx="5"/>
          </p:nvPr>
        </p:nvSpPr>
        <p:spPr/>
        <p:txBody>
          <a:bodyPr/>
          <a:lstStyle/>
          <a:p>
            <a:fld id="{80727244-25DA-4FDD-ADED-482C09915D8A}" type="slidenum">
              <a:rPr lang="en-GB" smtClean="0"/>
              <a:t>8</a:t>
            </a:fld>
            <a:endParaRPr lang="en-GB"/>
          </a:p>
        </p:txBody>
      </p:sp>
    </p:spTree>
    <p:extLst>
      <p:ext uri="{BB962C8B-B14F-4D97-AF65-F5344CB8AC3E}">
        <p14:creationId xmlns:p14="http://schemas.microsoft.com/office/powerpoint/2010/main" val="952875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Amir :</a:t>
            </a:r>
          </a:p>
          <a:p>
            <a:r>
              <a:rPr lang="fr-FR" dirty="0"/>
              <a:t>Pour développer AuditLynk, nous avons d'abord défini les besoins fonctionnels, comme l'authentification ou la transcription, mais aussi les besoins non fonctionnels, comme la performance, la disponibilité et l'ergonomie, qui sont essentiels pour garantir une application fiable et agréable à utiliser sur le terrain.</a:t>
            </a:r>
            <a:endParaRPr lang="fr-TN" dirty="0"/>
          </a:p>
        </p:txBody>
      </p:sp>
      <p:sp>
        <p:nvSpPr>
          <p:cNvPr id="4" name="Slide Number Placeholder 3"/>
          <p:cNvSpPr>
            <a:spLocks noGrp="1"/>
          </p:cNvSpPr>
          <p:nvPr>
            <p:ph type="sldNum" sz="quarter" idx="5"/>
          </p:nvPr>
        </p:nvSpPr>
        <p:spPr/>
        <p:txBody>
          <a:bodyPr/>
          <a:lstStyle/>
          <a:p>
            <a:fld id="{80727244-25DA-4FDD-ADED-482C09915D8A}" type="slidenum">
              <a:rPr lang="en-GB" smtClean="0"/>
              <a:t>9</a:t>
            </a:fld>
            <a:endParaRPr lang="en-GB"/>
          </a:p>
        </p:txBody>
      </p:sp>
    </p:spTree>
    <p:extLst>
      <p:ext uri="{BB962C8B-B14F-4D97-AF65-F5344CB8AC3E}">
        <p14:creationId xmlns:p14="http://schemas.microsoft.com/office/powerpoint/2010/main" val="394134653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Amir :</a:t>
            </a:r>
          </a:p>
          <a:p>
            <a:r>
              <a:rPr lang="fr-FR" dirty="0"/>
              <a:t>Lors de notre stage chez IFB Consulting, nous avons analysé leur processus d'audit et identifié une problématique centrale. Les méthodes actuelles sont très traditionnelles et engendrent quatre difficultés majeures :</a:t>
            </a:r>
          </a:p>
          <a:p>
            <a:endParaRPr lang="fr-FR" dirty="0"/>
          </a:p>
          <a:p>
            <a:r>
              <a:rPr lang="fr-FR" dirty="0"/>
              <a:t>Le processus est chronophage, car la prise de notes et la rédaction des rapports mobilisent beaucoup de temps.</a:t>
            </a:r>
          </a:p>
          <a:p>
            <a:endParaRPr lang="fr-FR" dirty="0"/>
          </a:p>
          <a:p>
            <a:r>
              <a:rPr lang="fr-FR" dirty="0"/>
              <a:t>La réalisation est manuelle, ce qui augmente la charge de travail et le risque de fatigue.</a:t>
            </a:r>
          </a:p>
          <a:p>
            <a:endParaRPr lang="fr-FR" dirty="0"/>
          </a:p>
          <a:p>
            <a:r>
              <a:rPr lang="fr-FR" dirty="0"/>
              <a:t>Cela entraîne un risque d'erreurs humaines ou d'oublis d'informations clés.</a:t>
            </a:r>
          </a:p>
          <a:p>
            <a:endParaRPr lang="fr-FR" dirty="0"/>
          </a:p>
          <a:p>
            <a:r>
              <a:rPr lang="fr-FR" dirty="0"/>
              <a:t>Enfin, il y a une absence de solution numérique réellement adaptée à leurs besoins spécifiques.</a:t>
            </a:r>
          </a:p>
          <a:p>
            <a:endParaRPr lang="fr-TN" dirty="0"/>
          </a:p>
        </p:txBody>
      </p:sp>
      <p:sp>
        <p:nvSpPr>
          <p:cNvPr id="4" name="Slide Number Placeholder 3"/>
          <p:cNvSpPr>
            <a:spLocks noGrp="1"/>
          </p:cNvSpPr>
          <p:nvPr>
            <p:ph type="sldNum" sz="quarter" idx="5"/>
          </p:nvPr>
        </p:nvSpPr>
        <p:spPr/>
        <p:txBody>
          <a:bodyPr/>
          <a:lstStyle/>
          <a:p>
            <a:fld id="{80727244-25DA-4FDD-ADED-482C09915D8A}" type="slidenum">
              <a:rPr lang="en-GB" smtClean="0"/>
              <a:t>9</a:t>
            </a:fld>
            <a:endParaRPr lang="en-GB"/>
          </a:p>
        </p:txBody>
      </p:sp>
    </p:spTree>
    <p:extLst>
      <p:ext uri="{BB962C8B-B14F-4D97-AF65-F5344CB8AC3E}">
        <p14:creationId xmlns:p14="http://schemas.microsoft.com/office/powerpoint/2010/main" val="37464966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CEBC4C-A618-39DD-A004-6F099E7521B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A76177B-D510-70F6-1D00-4FCAE62283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3648EFF-9FC7-4F9C-94A3-EA5AC7C69724}"/>
              </a:ext>
            </a:extLst>
          </p:cNvPr>
          <p:cNvSpPr>
            <a:spLocks noGrp="1"/>
          </p:cNvSpPr>
          <p:nvPr>
            <p:ph type="dt" sz="half" idx="10"/>
          </p:nvPr>
        </p:nvSpPr>
        <p:spPr/>
        <p:txBody>
          <a:bodyPr/>
          <a:lstStyle/>
          <a:p>
            <a:fld id="{246BBF71-E32C-42F1-94AE-0E593D22B09F}" type="datetime1">
              <a:rPr lang="en-GB" smtClean="0"/>
              <a:t>12/06/2025</a:t>
            </a:fld>
            <a:endParaRPr lang="en-GB"/>
          </a:p>
        </p:txBody>
      </p:sp>
      <p:sp>
        <p:nvSpPr>
          <p:cNvPr id="5" name="Footer Placeholder 4">
            <a:extLst>
              <a:ext uri="{FF2B5EF4-FFF2-40B4-BE49-F238E27FC236}">
                <a16:creationId xmlns:a16="http://schemas.microsoft.com/office/drawing/2014/main" id="{1589C630-0B09-53E1-31C9-BABEB07096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7651915-DC9A-8D6C-F485-926681312B58}"/>
              </a:ext>
            </a:extLst>
          </p:cNvPr>
          <p:cNvSpPr>
            <a:spLocks noGrp="1"/>
          </p:cNvSpPr>
          <p:nvPr>
            <p:ph type="sldNum" sz="quarter" idx="12"/>
          </p:nvPr>
        </p:nvSpPr>
        <p:spPr/>
        <p:txBody>
          <a:bodyPr/>
          <a:lstStyle/>
          <a:p>
            <a:fld id="{B314E427-6CF7-43B6-97E6-2AF54BA7AF6B}" type="slidenum">
              <a:rPr lang="en-GB" smtClean="0"/>
              <a:t>‹N°›</a:t>
            </a:fld>
            <a:endParaRPr lang="en-GB"/>
          </a:p>
        </p:txBody>
      </p:sp>
    </p:spTree>
    <p:extLst>
      <p:ext uri="{BB962C8B-B14F-4D97-AF65-F5344CB8AC3E}">
        <p14:creationId xmlns:p14="http://schemas.microsoft.com/office/powerpoint/2010/main" val="246261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B77BD0-2508-909C-716B-4E68C7E4E62C}"/>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A178145-3E79-6BD3-70F0-F691CA1290A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34619B2-6441-48C8-7E6B-4ABE242E6A4A}"/>
              </a:ext>
            </a:extLst>
          </p:cNvPr>
          <p:cNvSpPr>
            <a:spLocks noGrp="1"/>
          </p:cNvSpPr>
          <p:nvPr>
            <p:ph type="dt" sz="half" idx="10"/>
          </p:nvPr>
        </p:nvSpPr>
        <p:spPr/>
        <p:txBody>
          <a:bodyPr/>
          <a:lstStyle/>
          <a:p>
            <a:fld id="{5093284D-6AA7-4CB5-B3CF-79A0D4276563}" type="datetime1">
              <a:rPr lang="en-GB" smtClean="0"/>
              <a:t>12/06/2025</a:t>
            </a:fld>
            <a:endParaRPr lang="en-GB"/>
          </a:p>
        </p:txBody>
      </p:sp>
      <p:sp>
        <p:nvSpPr>
          <p:cNvPr id="5" name="Footer Placeholder 4">
            <a:extLst>
              <a:ext uri="{FF2B5EF4-FFF2-40B4-BE49-F238E27FC236}">
                <a16:creationId xmlns:a16="http://schemas.microsoft.com/office/drawing/2014/main" id="{62FC68C0-EDE2-C1FD-F7FD-BD969B56B25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0FA48DB-4380-CE54-ACD9-5559F8133184}"/>
              </a:ext>
            </a:extLst>
          </p:cNvPr>
          <p:cNvSpPr>
            <a:spLocks noGrp="1"/>
          </p:cNvSpPr>
          <p:nvPr>
            <p:ph type="sldNum" sz="quarter" idx="12"/>
          </p:nvPr>
        </p:nvSpPr>
        <p:spPr/>
        <p:txBody>
          <a:bodyPr/>
          <a:lstStyle/>
          <a:p>
            <a:fld id="{B314E427-6CF7-43B6-97E6-2AF54BA7AF6B}" type="slidenum">
              <a:rPr lang="en-GB" smtClean="0"/>
              <a:t>‹N°›</a:t>
            </a:fld>
            <a:endParaRPr lang="en-GB"/>
          </a:p>
        </p:txBody>
      </p:sp>
    </p:spTree>
    <p:extLst>
      <p:ext uri="{BB962C8B-B14F-4D97-AF65-F5344CB8AC3E}">
        <p14:creationId xmlns:p14="http://schemas.microsoft.com/office/powerpoint/2010/main" val="34674307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C506D35-54B1-A678-851B-FCA645D284C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BC2D8D1-8933-43E3-68F5-4D65C467A23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1BDD04-642A-2CEF-ACD9-5D419188C95C}"/>
              </a:ext>
            </a:extLst>
          </p:cNvPr>
          <p:cNvSpPr>
            <a:spLocks noGrp="1"/>
          </p:cNvSpPr>
          <p:nvPr>
            <p:ph type="dt" sz="half" idx="10"/>
          </p:nvPr>
        </p:nvSpPr>
        <p:spPr/>
        <p:txBody>
          <a:bodyPr/>
          <a:lstStyle/>
          <a:p>
            <a:fld id="{4BDFA32A-99DA-45C5-B647-27F5071BF501}" type="datetime1">
              <a:rPr lang="en-GB" smtClean="0"/>
              <a:t>12/06/2025</a:t>
            </a:fld>
            <a:endParaRPr lang="en-GB"/>
          </a:p>
        </p:txBody>
      </p:sp>
      <p:sp>
        <p:nvSpPr>
          <p:cNvPr id="5" name="Footer Placeholder 4">
            <a:extLst>
              <a:ext uri="{FF2B5EF4-FFF2-40B4-BE49-F238E27FC236}">
                <a16:creationId xmlns:a16="http://schemas.microsoft.com/office/drawing/2014/main" id="{B5E33EDA-94B8-5637-5166-9F58C6948B9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1870ABD-3C03-215E-3BA0-CF733B94545A}"/>
              </a:ext>
            </a:extLst>
          </p:cNvPr>
          <p:cNvSpPr>
            <a:spLocks noGrp="1"/>
          </p:cNvSpPr>
          <p:nvPr>
            <p:ph type="sldNum" sz="quarter" idx="12"/>
          </p:nvPr>
        </p:nvSpPr>
        <p:spPr/>
        <p:txBody>
          <a:bodyPr/>
          <a:lstStyle/>
          <a:p>
            <a:fld id="{B314E427-6CF7-43B6-97E6-2AF54BA7AF6B}" type="slidenum">
              <a:rPr lang="en-GB" smtClean="0"/>
              <a:t>‹N°›</a:t>
            </a:fld>
            <a:endParaRPr lang="en-GB"/>
          </a:p>
        </p:txBody>
      </p:sp>
    </p:spTree>
    <p:extLst>
      <p:ext uri="{BB962C8B-B14F-4D97-AF65-F5344CB8AC3E}">
        <p14:creationId xmlns:p14="http://schemas.microsoft.com/office/powerpoint/2010/main" val="24988033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927CA-EC04-FDCE-9CFC-53FBF80B2AD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75C4E92-D8AF-45DE-4432-E800693780F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4036554-42D0-0742-A750-B703AEFCBAB7}"/>
              </a:ext>
            </a:extLst>
          </p:cNvPr>
          <p:cNvSpPr>
            <a:spLocks noGrp="1"/>
          </p:cNvSpPr>
          <p:nvPr>
            <p:ph type="dt" sz="half" idx="10"/>
          </p:nvPr>
        </p:nvSpPr>
        <p:spPr/>
        <p:txBody>
          <a:bodyPr/>
          <a:lstStyle/>
          <a:p>
            <a:fld id="{5F413591-B3CB-4BD6-AF4D-BBF6F7731232}" type="datetime1">
              <a:rPr lang="en-GB" smtClean="0"/>
              <a:t>12/06/2025</a:t>
            </a:fld>
            <a:endParaRPr lang="en-GB"/>
          </a:p>
        </p:txBody>
      </p:sp>
      <p:sp>
        <p:nvSpPr>
          <p:cNvPr id="5" name="Footer Placeholder 4">
            <a:extLst>
              <a:ext uri="{FF2B5EF4-FFF2-40B4-BE49-F238E27FC236}">
                <a16:creationId xmlns:a16="http://schemas.microsoft.com/office/drawing/2014/main" id="{DC1C2A28-BEAA-D28B-8F6D-360C7F6E4AF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3E760C1-75AB-344F-27D3-2137BB8EE398}"/>
              </a:ext>
            </a:extLst>
          </p:cNvPr>
          <p:cNvSpPr>
            <a:spLocks noGrp="1"/>
          </p:cNvSpPr>
          <p:nvPr>
            <p:ph type="sldNum" sz="quarter" idx="12"/>
          </p:nvPr>
        </p:nvSpPr>
        <p:spPr/>
        <p:txBody>
          <a:bodyPr/>
          <a:lstStyle/>
          <a:p>
            <a:fld id="{41EB0B11-EF5C-41FA-A23E-99E3908ED535}" type="slidenum">
              <a:rPr lang="en-GB" smtClean="0"/>
              <a:t>‹N°›</a:t>
            </a:fld>
            <a:endParaRPr lang="en-GB"/>
          </a:p>
        </p:txBody>
      </p:sp>
    </p:spTree>
    <p:extLst>
      <p:ext uri="{BB962C8B-B14F-4D97-AF65-F5344CB8AC3E}">
        <p14:creationId xmlns:p14="http://schemas.microsoft.com/office/powerpoint/2010/main" val="25352871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53387-52C0-5B6A-6F6C-67FD472CA73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A2E3C19-97F7-B057-C5A8-E5CE271F7DF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12C0E83-50A0-F62F-EE08-250DAE07F8F1}"/>
              </a:ext>
            </a:extLst>
          </p:cNvPr>
          <p:cNvSpPr>
            <a:spLocks noGrp="1"/>
          </p:cNvSpPr>
          <p:nvPr>
            <p:ph type="dt" sz="half" idx="10"/>
          </p:nvPr>
        </p:nvSpPr>
        <p:spPr/>
        <p:txBody>
          <a:bodyPr/>
          <a:lstStyle/>
          <a:p>
            <a:fld id="{C9552713-67C9-45E1-9B44-C424A34FE7EA}" type="datetime1">
              <a:rPr lang="en-GB" smtClean="0"/>
              <a:t>12/06/2025</a:t>
            </a:fld>
            <a:endParaRPr lang="en-GB"/>
          </a:p>
        </p:txBody>
      </p:sp>
      <p:sp>
        <p:nvSpPr>
          <p:cNvPr id="5" name="Footer Placeholder 4">
            <a:extLst>
              <a:ext uri="{FF2B5EF4-FFF2-40B4-BE49-F238E27FC236}">
                <a16:creationId xmlns:a16="http://schemas.microsoft.com/office/drawing/2014/main" id="{2BAA5126-015E-26C8-9777-AD4E0B1FC6D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D80E731-D4E3-1F29-4105-4BC1839D0BED}"/>
              </a:ext>
            </a:extLst>
          </p:cNvPr>
          <p:cNvSpPr>
            <a:spLocks noGrp="1"/>
          </p:cNvSpPr>
          <p:nvPr>
            <p:ph type="sldNum" sz="quarter" idx="12"/>
          </p:nvPr>
        </p:nvSpPr>
        <p:spPr/>
        <p:txBody>
          <a:bodyPr/>
          <a:lstStyle/>
          <a:p>
            <a:fld id="{41EB0B11-EF5C-41FA-A23E-99E3908ED535}" type="slidenum">
              <a:rPr lang="en-GB" smtClean="0"/>
              <a:t>‹N°›</a:t>
            </a:fld>
            <a:endParaRPr lang="en-GB"/>
          </a:p>
        </p:txBody>
      </p:sp>
    </p:spTree>
    <p:extLst>
      <p:ext uri="{BB962C8B-B14F-4D97-AF65-F5344CB8AC3E}">
        <p14:creationId xmlns:p14="http://schemas.microsoft.com/office/powerpoint/2010/main" val="38064946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293CE-DC18-7EBB-FD8E-814F3522CDF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0EB9178-C934-2288-EC5A-DAC080A9F62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E207F36-ABE2-B599-3B45-FB385749FB92}"/>
              </a:ext>
            </a:extLst>
          </p:cNvPr>
          <p:cNvSpPr>
            <a:spLocks noGrp="1"/>
          </p:cNvSpPr>
          <p:nvPr>
            <p:ph type="dt" sz="half" idx="10"/>
          </p:nvPr>
        </p:nvSpPr>
        <p:spPr/>
        <p:txBody>
          <a:bodyPr/>
          <a:lstStyle/>
          <a:p>
            <a:fld id="{BA2446E4-12C2-455B-B3E6-6F0A8C8AD427}" type="datetime1">
              <a:rPr lang="en-GB" smtClean="0"/>
              <a:t>12/06/2025</a:t>
            </a:fld>
            <a:endParaRPr lang="en-GB"/>
          </a:p>
        </p:txBody>
      </p:sp>
      <p:sp>
        <p:nvSpPr>
          <p:cNvPr id="5" name="Footer Placeholder 4">
            <a:extLst>
              <a:ext uri="{FF2B5EF4-FFF2-40B4-BE49-F238E27FC236}">
                <a16:creationId xmlns:a16="http://schemas.microsoft.com/office/drawing/2014/main" id="{ED77A94B-EA40-561F-0E00-4D71ABE10DC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8203142-0649-0702-E644-F78C75B0A2A1}"/>
              </a:ext>
            </a:extLst>
          </p:cNvPr>
          <p:cNvSpPr>
            <a:spLocks noGrp="1"/>
          </p:cNvSpPr>
          <p:nvPr>
            <p:ph type="sldNum" sz="quarter" idx="12"/>
          </p:nvPr>
        </p:nvSpPr>
        <p:spPr/>
        <p:txBody>
          <a:bodyPr/>
          <a:lstStyle/>
          <a:p>
            <a:fld id="{41EB0B11-EF5C-41FA-A23E-99E3908ED535}" type="slidenum">
              <a:rPr lang="en-GB" smtClean="0"/>
              <a:t>‹N°›</a:t>
            </a:fld>
            <a:endParaRPr lang="en-GB"/>
          </a:p>
        </p:txBody>
      </p:sp>
    </p:spTree>
    <p:extLst>
      <p:ext uri="{BB962C8B-B14F-4D97-AF65-F5344CB8AC3E}">
        <p14:creationId xmlns:p14="http://schemas.microsoft.com/office/powerpoint/2010/main" val="35688642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7EBE7-5725-2027-6C19-02A8472DD1F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E3EC399-F347-D0FB-AAC5-BB452DA45B0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8FE23FA-119D-D03B-8CDB-C0B784E3D46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79C3B32-C36F-CC0E-645F-04EE564CCBCC}"/>
              </a:ext>
            </a:extLst>
          </p:cNvPr>
          <p:cNvSpPr>
            <a:spLocks noGrp="1"/>
          </p:cNvSpPr>
          <p:nvPr>
            <p:ph type="dt" sz="half" idx="10"/>
          </p:nvPr>
        </p:nvSpPr>
        <p:spPr/>
        <p:txBody>
          <a:bodyPr/>
          <a:lstStyle/>
          <a:p>
            <a:fld id="{C63DE81B-3226-49F0-A49A-C9D9865487C2}" type="datetime1">
              <a:rPr lang="en-GB" smtClean="0"/>
              <a:t>12/06/2025</a:t>
            </a:fld>
            <a:endParaRPr lang="en-GB"/>
          </a:p>
        </p:txBody>
      </p:sp>
      <p:sp>
        <p:nvSpPr>
          <p:cNvPr id="6" name="Footer Placeholder 5">
            <a:extLst>
              <a:ext uri="{FF2B5EF4-FFF2-40B4-BE49-F238E27FC236}">
                <a16:creationId xmlns:a16="http://schemas.microsoft.com/office/drawing/2014/main" id="{8E9CFCF0-556C-BF46-05B1-FB1F17591F8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66B6493-3CBF-FD4E-EE7C-088CCE434C7B}"/>
              </a:ext>
            </a:extLst>
          </p:cNvPr>
          <p:cNvSpPr>
            <a:spLocks noGrp="1"/>
          </p:cNvSpPr>
          <p:nvPr>
            <p:ph type="sldNum" sz="quarter" idx="12"/>
          </p:nvPr>
        </p:nvSpPr>
        <p:spPr/>
        <p:txBody>
          <a:bodyPr/>
          <a:lstStyle/>
          <a:p>
            <a:fld id="{41EB0B11-EF5C-41FA-A23E-99E3908ED535}" type="slidenum">
              <a:rPr lang="en-GB" smtClean="0"/>
              <a:t>‹N°›</a:t>
            </a:fld>
            <a:endParaRPr lang="en-GB"/>
          </a:p>
        </p:txBody>
      </p:sp>
    </p:spTree>
    <p:extLst>
      <p:ext uri="{BB962C8B-B14F-4D97-AF65-F5344CB8AC3E}">
        <p14:creationId xmlns:p14="http://schemas.microsoft.com/office/powerpoint/2010/main" val="5002292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C480C-5F0C-EF6B-69FE-88938DD6486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0FF698D-F9DC-8256-2772-5DCD8EA9D55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A7DD954-1E5D-1CA5-AF1E-089B3710293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0152888-0209-873C-C8AB-6DD83628DDF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EC10F12-C3AA-5409-24D5-7973DB32AB4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6F828A34-700E-CCCC-89A1-489F8837E36F}"/>
              </a:ext>
            </a:extLst>
          </p:cNvPr>
          <p:cNvSpPr>
            <a:spLocks noGrp="1"/>
          </p:cNvSpPr>
          <p:nvPr>
            <p:ph type="dt" sz="half" idx="10"/>
          </p:nvPr>
        </p:nvSpPr>
        <p:spPr/>
        <p:txBody>
          <a:bodyPr/>
          <a:lstStyle/>
          <a:p>
            <a:fld id="{86939763-B7A0-4B0D-AEC3-7C7286665B9F}" type="datetime1">
              <a:rPr lang="en-GB" smtClean="0"/>
              <a:t>12/06/2025</a:t>
            </a:fld>
            <a:endParaRPr lang="en-GB"/>
          </a:p>
        </p:txBody>
      </p:sp>
      <p:sp>
        <p:nvSpPr>
          <p:cNvPr id="8" name="Footer Placeholder 7">
            <a:extLst>
              <a:ext uri="{FF2B5EF4-FFF2-40B4-BE49-F238E27FC236}">
                <a16:creationId xmlns:a16="http://schemas.microsoft.com/office/drawing/2014/main" id="{6EAB6FA3-DBB1-94C6-4D07-2B495FB8D6A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1C7E0359-950B-0308-A77D-C230EF31A0D0}"/>
              </a:ext>
            </a:extLst>
          </p:cNvPr>
          <p:cNvSpPr>
            <a:spLocks noGrp="1"/>
          </p:cNvSpPr>
          <p:nvPr>
            <p:ph type="sldNum" sz="quarter" idx="12"/>
          </p:nvPr>
        </p:nvSpPr>
        <p:spPr/>
        <p:txBody>
          <a:bodyPr/>
          <a:lstStyle/>
          <a:p>
            <a:fld id="{41EB0B11-EF5C-41FA-A23E-99E3908ED535}" type="slidenum">
              <a:rPr lang="en-GB" smtClean="0"/>
              <a:t>‹N°›</a:t>
            </a:fld>
            <a:endParaRPr lang="en-GB"/>
          </a:p>
        </p:txBody>
      </p:sp>
    </p:spTree>
    <p:extLst>
      <p:ext uri="{BB962C8B-B14F-4D97-AF65-F5344CB8AC3E}">
        <p14:creationId xmlns:p14="http://schemas.microsoft.com/office/powerpoint/2010/main" val="13371512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2E1CE1-03DC-4BC7-6D82-7D0A611FDA12}"/>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DCEC0E2-AA2B-3889-9554-96F303DAF6DC}"/>
              </a:ext>
            </a:extLst>
          </p:cNvPr>
          <p:cNvSpPr>
            <a:spLocks noGrp="1"/>
          </p:cNvSpPr>
          <p:nvPr>
            <p:ph type="dt" sz="half" idx="10"/>
          </p:nvPr>
        </p:nvSpPr>
        <p:spPr/>
        <p:txBody>
          <a:bodyPr/>
          <a:lstStyle/>
          <a:p>
            <a:fld id="{F5FB0919-3875-4AAB-AD78-EBF2266ED113}" type="datetime1">
              <a:rPr lang="en-GB" smtClean="0"/>
              <a:t>12/06/2025</a:t>
            </a:fld>
            <a:endParaRPr lang="en-GB"/>
          </a:p>
        </p:txBody>
      </p:sp>
      <p:sp>
        <p:nvSpPr>
          <p:cNvPr id="4" name="Footer Placeholder 3">
            <a:extLst>
              <a:ext uri="{FF2B5EF4-FFF2-40B4-BE49-F238E27FC236}">
                <a16:creationId xmlns:a16="http://schemas.microsoft.com/office/drawing/2014/main" id="{A73E8A7B-5406-5D43-99E7-8F06BC6637D2}"/>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5363C191-0DC0-D851-8C87-75F3406F350F}"/>
              </a:ext>
            </a:extLst>
          </p:cNvPr>
          <p:cNvSpPr>
            <a:spLocks noGrp="1"/>
          </p:cNvSpPr>
          <p:nvPr>
            <p:ph type="sldNum" sz="quarter" idx="12"/>
          </p:nvPr>
        </p:nvSpPr>
        <p:spPr/>
        <p:txBody>
          <a:bodyPr/>
          <a:lstStyle/>
          <a:p>
            <a:fld id="{41EB0B11-EF5C-41FA-A23E-99E3908ED535}" type="slidenum">
              <a:rPr lang="en-GB" smtClean="0"/>
              <a:t>‹N°›</a:t>
            </a:fld>
            <a:endParaRPr lang="en-GB"/>
          </a:p>
        </p:txBody>
      </p:sp>
    </p:spTree>
    <p:extLst>
      <p:ext uri="{BB962C8B-B14F-4D97-AF65-F5344CB8AC3E}">
        <p14:creationId xmlns:p14="http://schemas.microsoft.com/office/powerpoint/2010/main" val="12282245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483E5B6-DA1D-5638-C9A6-3CB7531BF5F6}"/>
              </a:ext>
            </a:extLst>
          </p:cNvPr>
          <p:cNvSpPr>
            <a:spLocks noGrp="1"/>
          </p:cNvSpPr>
          <p:nvPr>
            <p:ph type="dt" sz="half" idx="10"/>
          </p:nvPr>
        </p:nvSpPr>
        <p:spPr/>
        <p:txBody>
          <a:bodyPr/>
          <a:lstStyle/>
          <a:p>
            <a:fld id="{7940385D-A80F-4807-B3E3-CC7C6FD13285}" type="datetime1">
              <a:rPr lang="en-GB" smtClean="0"/>
              <a:t>12/06/2025</a:t>
            </a:fld>
            <a:endParaRPr lang="en-GB"/>
          </a:p>
        </p:txBody>
      </p:sp>
      <p:sp>
        <p:nvSpPr>
          <p:cNvPr id="3" name="Footer Placeholder 2">
            <a:extLst>
              <a:ext uri="{FF2B5EF4-FFF2-40B4-BE49-F238E27FC236}">
                <a16:creationId xmlns:a16="http://schemas.microsoft.com/office/drawing/2014/main" id="{AEB4E43F-1DF9-4A31-6750-A37A393C24A2}"/>
              </a:ext>
            </a:extLst>
          </p:cNvPr>
          <p:cNvSpPr>
            <a:spLocks noGrp="1"/>
          </p:cNvSpPr>
          <p:nvPr>
            <p:ph type="ftr" sz="quarter" idx="11"/>
          </p:nvPr>
        </p:nvSpPr>
        <p:spPr/>
        <p:txBody>
          <a:bodyPr vert="horz" lIns="91440" tIns="45720" rIns="91440" bIns="45720" rtlCol="0" anchor="ctr"/>
          <a:lstStyle>
            <a:lvl1pPr>
              <a:defRPr lang="en-GB" sz="1000">
                <a:latin typeface="Darker Grotesque" pitchFamily="2" charset="0"/>
              </a:defRPr>
            </a:lvl1pPr>
          </a:lstStyle>
          <a:p>
            <a:endParaRPr lang="en-GB"/>
          </a:p>
        </p:txBody>
      </p:sp>
      <p:sp>
        <p:nvSpPr>
          <p:cNvPr id="4" name="Slide Number Placeholder 3">
            <a:extLst>
              <a:ext uri="{FF2B5EF4-FFF2-40B4-BE49-F238E27FC236}">
                <a16:creationId xmlns:a16="http://schemas.microsoft.com/office/drawing/2014/main" id="{20905FB5-9613-E806-4DED-5DBAED25C676}"/>
              </a:ext>
            </a:extLst>
          </p:cNvPr>
          <p:cNvSpPr>
            <a:spLocks noGrp="1"/>
          </p:cNvSpPr>
          <p:nvPr>
            <p:ph type="sldNum" sz="quarter" idx="12"/>
          </p:nvPr>
        </p:nvSpPr>
        <p:spPr/>
        <p:txBody>
          <a:bodyPr/>
          <a:lstStyle/>
          <a:p>
            <a:fld id="{41EB0B11-EF5C-41FA-A23E-99E3908ED535}" type="slidenum">
              <a:rPr lang="en-GB" smtClean="0"/>
              <a:t>‹N°›</a:t>
            </a:fld>
            <a:endParaRPr lang="en-GB"/>
          </a:p>
        </p:txBody>
      </p:sp>
    </p:spTree>
    <p:extLst>
      <p:ext uri="{BB962C8B-B14F-4D97-AF65-F5344CB8AC3E}">
        <p14:creationId xmlns:p14="http://schemas.microsoft.com/office/powerpoint/2010/main" val="1608334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800"/>
                                        <p:tgtEl>
                                          <p:spTgt spid="3"/>
                                        </p:tgtEl>
                                      </p:cBhvr>
                                    </p:animEffect>
                                  </p:childTnLst>
                                </p:cTn>
                              </p:par>
                              <p:par>
                                <p:cTn id="8" presetID="42" presetClass="path" presetSubtype="0" decel="100000" fill="hold" grpId="1" nodeType="withEffect">
                                  <p:stCondLst>
                                    <p:cond delay="0"/>
                                  </p:stCondLst>
                                  <p:childTnLst>
                                    <p:animMotion origin="layout" path="M 0 1.85185E-6 L 0 0.11389 " pathEditMode="relative" rAng="0" ptsTypes="AA">
                                      <p:cBhvr>
                                        <p:cTn id="9" dur="1250" spd="-100000" fill="hold"/>
                                        <p:tgtEl>
                                          <p:spTgt spid="3"/>
                                        </p:tgtEl>
                                        <p:attrNameLst>
                                          <p:attrName>ppt_x</p:attrName>
                                          <p:attrName>ppt_y</p:attrName>
                                        </p:attrNameLst>
                                      </p:cBhvr>
                                      <p:rCtr x="0" y="56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extLst>
    <p:ext uri="{DCECCB84-F9BA-43D5-87BE-67443E8EF086}">
      <p15:sldGuideLst xmlns:p15="http://schemas.microsoft.com/office/powerpoint/2012/main">
        <p15:guide id="1" userDrawn="1">
          <p15:clr>
            <a:srgbClr val="FBAE40"/>
          </p15:clr>
        </p15:guide>
        <p15:guide id="2" pos="7680" userDrawn="1">
          <p15:clr>
            <a:srgbClr val="FBAE40"/>
          </p15:clr>
        </p15:guide>
        <p15:guide id="3" pos="170" userDrawn="1">
          <p15:clr>
            <a:srgbClr val="FBAE40"/>
          </p15:clr>
        </p15:guide>
        <p15:guide id="4" pos="781" userDrawn="1">
          <p15:clr>
            <a:srgbClr val="FBAE40"/>
          </p15:clr>
        </p15:guide>
        <p15:guide id="5" pos="1393" userDrawn="1">
          <p15:clr>
            <a:srgbClr val="FBAE40"/>
          </p15:clr>
        </p15:guide>
        <p15:guide id="6" pos="2005" userDrawn="1">
          <p15:clr>
            <a:srgbClr val="FBAE40"/>
          </p15:clr>
        </p15:guide>
        <p15:guide id="7" pos="2616" userDrawn="1">
          <p15:clr>
            <a:srgbClr val="FBAE40"/>
          </p15:clr>
        </p15:guide>
        <p15:guide id="8" pos="3228" userDrawn="1">
          <p15:clr>
            <a:srgbClr val="FBAE40"/>
          </p15:clr>
        </p15:guide>
        <p15:guide id="9" pos="3840" userDrawn="1">
          <p15:clr>
            <a:srgbClr val="FBAE40"/>
          </p15:clr>
        </p15:guide>
        <p15:guide id="10" pos="4451" userDrawn="1">
          <p15:clr>
            <a:srgbClr val="FBAE40"/>
          </p15:clr>
        </p15:guide>
        <p15:guide id="11" pos="5063" userDrawn="1">
          <p15:clr>
            <a:srgbClr val="FBAE40"/>
          </p15:clr>
        </p15:guide>
        <p15:guide id="12" pos="5674" userDrawn="1">
          <p15:clr>
            <a:srgbClr val="FBAE40"/>
          </p15:clr>
        </p15:guide>
        <p15:guide id="13" pos="6286" userDrawn="1">
          <p15:clr>
            <a:srgbClr val="FBAE40"/>
          </p15:clr>
        </p15:guide>
        <p15:guide id="14" pos="6898" userDrawn="1">
          <p15:clr>
            <a:srgbClr val="FBAE40"/>
          </p15:clr>
        </p15:guide>
        <p15:guide id="15" pos="7509" userDrawn="1">
          <p15:clr>
            <a:srgbClr val="FBAE40"/>
          </p15:clr>
        </p15:guide>
        <p15:guide id="16" orient="horz" userDrawn="1">
          <p15:clr>
            <a:srgbClr val="FBAE40"/>
          </p15:clr>
        </p15:guide>
        <p15:guide id="17" orient="horz" pos="4320" userDrawn="1">
          <p15:clr>
            <a:srgbClr val="FBAE40"/>
          </p15:clr>
        </p15:guide>
        <p15:guide id="18" orient="horz" pos="170" userDrawn="1">
          <p15:clr>
            <a:srgbClr val="FBAE40"/>
          </p15:clr>
        </p15:guide>
        <p15:guide id="19" orient="horz" pos="2160" userDrawn="1">
          <p15:clr>
            <a:srgbClr val="FBAE40"/>
          </p15:clr>
        </p15:guide>
        <p15:guide id="20" orient="horz" pos="414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ACE8C-4BC2-CAA2-7451-304FBEAA83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C379F71-05EB-853E-7E23-A6EAE831998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DBD395FD-E4E0-6076-4D07-98E0B9418D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782851-6829-4144-8DAC-B8A74FD26763}"/>
              </a:ext>
            </a:extLst>
          </p:cNvPr>
          <p:cNvSpPr>
            <a:spLocks noGrp="1"/>
          </p:cNvSpPr>
          <p:nvPr>
            <p:ph type="dt" sz="half" idx="10"/>
          </p:nvPr>
        </p:nvSpPr>
        <p:spPr/>
        <p:txBody>
          <a:bodyPr/>
          <a:lstStyle/>
          <a:p>
            <a:fld id="{D5122FED-0180-4A61-931F-E8667D7E411F}" type="datetime1">
              <a:rPr lang="en-GB" smtClean="0"/>
              <a:t>12/06/2025</a:t>
            </a:fld>
            <a:endParaRPr lang="en-GB"/>
          </a:p>
        </p:txBody>
      </p:sp>
      <p:sp>
        <p:nvSpPr>
          <p:cNvPr id="6" name="Footer Placeholder 5">
            <a:extLst>
              <a:ext uri="{FF2B5EF4-FFF2-40B4-BE49-F238E27FC236}">
                <a16:creationId xmlns:a16="http://schemas.microsoft.com/office/drawing/2014/main" id="{314CD30E-3C31-AA44-2A8B-87C605CD013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8AB089B-89C5-5A31-F472-479A7604EB89}"/>
              </a:ext>
            </a:extLst>
          </p:cNvPr>
          <p:cNvSpPr>
            <a:spLocks noGrp="1"/>
          </p:cNvSpPr>
          <p:nvPr>
            <p:ph type="sldNum" sz="quarter" idx="12"/>
          </p:nvPr>
        </p:nvSpPr>
        <p:spPr/>
        <p:txBody>
          <a:bodyPr/>
          <a:lstStyle/>
          <a:p>
            <a:fld id="{41EB0B11-EF5C-41FA-A23E-99E3908ED535}" type="slidenum">
              <a:rPr lang="en-GB" smtClean="0"/>
              <a:t>‹N°›</a:t>
            </a:fld>
            <a:endParaRPr lang="en-GB"/>
          </a:p>
        </p:txBody>
      </p:sp>
    </p:spTree>
    <p:extLst>
      <p:ext uri="{BB962C8B-B14F-4D97-AF65-F5344CB8AC3E}">
        <p14:creationId xmlns:p14="http://schemas.microsoft.com/office/powerpoint/2010/main" val="29766372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45329-AAE3-3E58-F378-BAD4CB611D8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3EA91E4-A116-2E09-B4CB-D5DBA73A207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F7879D2-C552-EF51-DACF-B6C7FB7544FE}"/>
              </a:ext>
            </a:extLst>
          </p:cNvPr>
          <p:cNvSpPr>
            <a:spLocks noGrp="1"/>
          </p:cNvSpPr>
          <p:nvPr>
            <p:ph type="dt" sz="half" idx="10"/>
          </p:nvPr>
        </p:nvSpPr>
        <p:spPr/>
        <p:txBody>
          <a:bodyPr/>
          <a:lstStyle/>
          <a:p>
            <a:fld id="{A11DCE65-E01E-4491-8F70-C77590CA9A3A}" type="datetime1">
              <a:rPr lang="en-GB" smtClean="0"/>
              <a:t>12/06/2025</a:t>
            </a:fld>
            <a:endParaRPr lang="en-GB"/>
          </a:p>
        </p:txBody>
      </p:sp>
      <p:sp>
        <p:nvSpPr>
          <p:cNvPr id="5" name="Footer Placeholder 4">
            <a:extLst>
              <a:ext uri="{FF2B5EF4-FFF2-40B4-BE49-F238E27FC236}">
                <a16:creationId xmlns:a16="http://schemas.microsoft.com/office/drawing/2014/main" id="{F89E4186-D9C6-7254-A6CF-085AE5DAFD5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687F46-1A54-4E99-9F0F-02FD07BA3CDA}"/>
              </a:ext>
            </a:extLst>
          </p:cNvPr>
          <p:cNvSpPr>
            <a:spLocks noGrp="1"/>
          </p:cNvSpPr>
          <p:nvPr>
            <p:ph type="sldNum" sz="quarter" idx="12"/>
          </p:nvPr>
        </p:nvSpPr>
        <p:spPr/>
        <p:txBody>
          <a:bodyPr/>
          <a:lstStyle/>
          <a:p>
            <a:fld id="{B314E427-6CF7-43B6-97E6-2AF54BA7AF6B}" type="slidenum">
              <a:rPr lang="en-GB" smtClean="0"/>
              <a:t>‹N°›</a:t>
            </a:fld>
            <a:endParaRPr lang="en-GB"/>
          </a:p>
        </p:txBody>
      </p:sp>
    </p:spTree>
    <p:extLst>
      <p:ext uri="{BB962C8B-B14F-4D97-AF65-F5344CB8AC3E}">
        <p14:creationId xmlns:p14="http://schemas.microsoft.com/office/powerpoint/2010/main" val="31181413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54B6F-B779-6114-01F8-FC909B9E0F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5A0AF54E-2C93-3182-A338-652AD5607C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010EA83-91B8-2F8B-D6D6-701E75F9D47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713E36D-ADA9-46F8-605E-3DB04A717223}"/>
              </a:ext>
            </a:extLst>
          </p:cNvPr>
          <p:cNvSpPr>
            <a:spLocks noGrp="1"/>
          </p:cNvSpPr>
          <p:nvPr>
            <p:ph type="dt" sz="half" idx="10"/>
          </p:nvPr>
        </p:nvSpPr>
        <p:spPr/>
        <p:txBody>
          <a:bodyPr/>
          <a:lstStyle/>
          <a:p>
            <a:fld id="{EE50B778-A928-498A-B615-19F5A5C42CD9}" type="datetime1">
              <a:rPr lang="en-GB" smtClean="0"/>
              <a:t>12/06/2025</a:t>
            </a:fld>
            <a:endParaRPr lang="en-GB"/>
          </a:p>
        </p:txBody>
      </p:sp>
      <p:sp>
        <p:nvSpPr>
          <p:cNvPr id="6" name="Footer Placeholder 5">
            <a:extLst>
              <a:ext uri="{FF2B5EF4-FFF2-40B4-BE49-F238E27FC236}">
                <a16:creationId xmlns:a16="http://schemas.microsoft.com/office/drawing/2014/main" id="{782E5099-E6D2-CF7B-6B64-FB3B7E6BEBF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4B92FE7-A8B1-05B3-0C64-06952BBA890A}"/>
              </a:ext>
            </a:extLst>
          </p:cNvPr>
          <p:cNvSpPr>
            <a:spLocks noGrp="1"/>
          </p:cNvSpPr>
          <p:nvPr>
            <p:ph type="sldNum" sz="quarter" idx="12"/>
          </p:nvPr>
        </p:nvSpPr>
        <p:spPr/>
        <p:txBody>
          <a:bodyPr/>
          <a:lstStyle/>
          <a:p>
            <a:fld id="{41EB0B11-EF5C-41FA-A23E-99E3908ED535}" type="slidenum">
              <a:rPr lang="en-GB" smtClean="0"/>
              <a:t>‹N°›</a:t>
            </a:fld>
            <a:endParaRPr lang="en-GB"/>
          </a:p>
        </p:txBody>
      </p:sp>
    </p:spTree>
    <p:extLst>
      <p:ext uri="{BB962C8B-B14F-4D97-AF65-F5344CB8AC3E}">
        <p14:creationId xmlns:p14="http://schemas.microsoft.com/office/powerpoint/2010/main" val="14363700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514CF-52E1-BE45-744A-368CA91C06EF}"/>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076A353-9914-8982-0C84-9A5695B1A41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C1C1416-2554-CE90-5596-7D9ED8625829}"/>
              </a:ext>
            </a:extLst>
          </p:cNvPr>
          <p:cNvSpPr>
            <a:spLocks noGrp="1"/>
          </p:cNvSpPr>
          <p:nvPr>
            <p:ph type="dt" sz="half" idx="10"/>
          </p:nvPr>
        </p:nvSpPr>
        <p:spPr/>
        <p:txBody>
          <a:bodyPr/>
          <a:lstStyle/>
          <a:p>
            <a:fld id="{4CA4167A-7988-4768-8257-01CEE754010A}" type="datetime1">
              <a:rPr lang="en-GB" smtClean="0"/>
              <a:t>12/06/2025</a:t>
            </a:fld>
            <a:endParaRPr lang="en-GB"/>
          </a:p>
        </p:txBody>
      </p:sp>
      <p:sp>
        <p:nvSpPr>
          <p:cNvPr id="5" name="Footer Placeholder 4">
            <a:extLst>
              <a:ext uri="{FF2B5EF4-FFF2-40B4-BE49-F238E27FC236}">
                <a16:creationId xmlns:a16="http://schemas.microsoft.com/office/drawing/2014/main" id="{30C9D2BE-7059-389A-E2C3-EAE35D11C53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32B6406-B2CF-C5A0-55AD-808836148754}"/>
              </a:ext>
            </a:extLst>
          </p:cNvPr>
          <p:cNvSpPr>
            <a:spLocks noGrp="1"/>
          </p:cNvSpPr>
          <p:nvPr>
            <p:ph type="sldNum" sz="quarter" idx="12"/>
          </p:nvPr>
        </p:nvSpPr>
        <p:spPr/>
        <p:txBody>
          <a:bodyPr/>
          <a:lstStyle/>
          <a:p>
            <a:fld id="{41EB0B11-EF5C-41FA-A23E-99E3908ED535}" type="slidenum">
              <a:rPr lang="en-GB" smtClean="0"/>
              <a:t>‹N°›</a:t>
            </a:fld>
            <a:endParaRPr lang="en-GB"/>
          </a:p>
        </p:txBody>
      </p:sp>
    </p:spTree>
    <p:extLst>
      <p:ext uri="{BB962C8B-B14F-4D97-AF65-F5344CB8AC3E}">
        <p14:creationId xmlns:p14="http://schemas.microsoft.com/office/powerpoint/2010/main" val="31425916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3EBDED2-2230-DDDB-24CA-10C580DD641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1BF548C-B125-301D-91A0-E0236E25FF1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888B4E0-1400-9F08-4390-6E5ADEC28D41}"/>
              </a:ext>
            </a:extLst>
          </p:cNvPr>
          <p:cNvSpPr>
            <a:spLocks noGrp="1"/>
          </p:cNvSpPr>
          <p:nvPr>
            <p:ph type="dt" sz="half" idx="10"/>
          </p:nvPr>
        </p:nvSpPr>
        <p:spPr/>
        <p:txBody>
          <a:bodyPr/>
          <a:lstStyle/>
          <a:p>
            <a:fld id="{0FC5D2D3-BE7A-4889-ABFC-5F15D624A5B1}" type="datetime1">
              <a:rPr lang="en-GB" smtClean="0"/>
              <a:t>12/06/2025</a:t>
            </a:fld>
            <a:endParaRPr lang="en-GB"/>
          </a:p>
        </p:txBody>
      </p:sp>
      <p:sp>
        <p:nvSpPr>
          <p:cNvPr id="5" name="Footer Placeholder 4">
            <a:extLst>
              <a:ext uri="{FF2B5EF4-FFF2-40B4-BE49-F238E27FC236}">
                <a16:creationId xmlns:a16="http://schemas.microsoft.com/office/drawing/2014/main" id="{3B8B47D6-33E1-13E1-1F4C-E66E6C56FA8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EE8F5D8-AA94-610F-1E85-D90E01FB6AB1}"/>
              </a:ext>
            </a:extLst>
          </p:cNvPr>
          <p:cNvSpPr>
            <a:spLocks noGrp="1"/>
          </p:cNvSpPr>
          <p:nvPr>
            <p:ph type="sldNum" sz="quarter" idx="12"/>
          </p:nvPr>
        </p:nvSpPr>
        <p:spPr/>
        <p:txBody>
          <a:bodyPr/>
          <a:lstStyle/>
          <a:p>
            <a:fld id="{41EB0B11-EF5C-41FA-A23E-99E3908ED535}" type="slidenum">
              <a:rPr lang="en-GB" smtClean="0"/>
              <a:t>‹N°›</a:t>
            </a:fld>
            <a:endParaRPr lang="en-GB"/>
          </a:p>
        </p:txBody>
      </p:sp>
    </p:spTree>
    <p:extLst>
      <p:ext uri="{BB962C8B-B14F-4D97-AF65-F5344CB8AC3E}">
        <p14:creationId xmlns:p14="http://schemas.microsoft.com/office/powerpoint/2010/main" val="28097465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82D31-7C3E-9B21-11F3-04D042B2C45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C70517DC-0E3B-090C-D59E-CF4189BB41F5}"/>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689B8AB-AECE-460D-ECF1-F71B5A9CB3EB}"/>
              </a:ext>
            </a:extLst>
          </p:cNvPr>
          <p:cNvSpPr>
            <a:spLocks noGrp="1"/>
          </p:cNvSpPr>
          <p:nvPr>
            <p:ph type="dt" sz="half" idx="10"/>
          </p:nvPr>
        </p:nvSpPr>
        <p:spPr/>
        <p:txBody>
          <a:bodyPr/>
          <a:lstStyle/>
          <a:p>
            <a:fld id="{095B4C28-6607-4069-8D45-CA91CEA545B3}" type="datetime1">
              <a:rPr lang="en-GB" smtClean="0"/>
              <a:t>12/06/2025</a:t>
            </a:fld>
            <a:endParaRPr lang="en-GB"/>
          </a:p>
        </p:txBody>
      </p:sp>
      <p:sp>
        <p:nvSpPr>
          <p:cNvPr id="5" name="Footer Placeholder 4">
            <a:extLst>
              <a:ext uri="{FF2B5EF4-FFF2-40B4-BE49-F238E27FC236}">
                <a16:creationId xmlns:a16="http://schemas.microsoft.com/office/drawing/2014/main" id="{657B0EE6-6B9F-C899-8CB2-BFC4C22F307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CDB339F-44CD-99B1-E8A1-DB352F647225}"/>
              </a:ext>
            </a:extLst>
          </p:cNvPr>
          <p:cNvSpPr>
            <a:spLocks noGrp="1"/>
          </p:cNvSpPr>
          <p:nvPr>
            <p:ph type="sldNum" sz="quarter" idx="12"/>
          </p:nvPr>
        </p:nvSpPr>
        <p:spPr/>
        <p:txBody>
          <a:bodyPr/>
          <a:lstStyle/>
          <a:p>
            <a:fld id="{B314E427-6CF7-43B6-97E6-2AF54BA7AF6B}" type="slidenum">
              <a:rPr lang="en-GB" smtClean="0"/>
              <a:t>‹N°›</a:t>
            </a:fld>
            <a:endParaRPr lang="en-GB"/>
          </a:p>
        </p:txBody>
      </p:sp>
    </p:spTree>
    <p:extLst>
      <p:ext uri="{BB962C8B-B14F-4D97-AF65-F5344CB8AC3E}">
        <p14:creationId xmlns:p14="http://schemas.microsoft.com/office/powerpoint/2010/main" val="305757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CDAB0E-B469-C409-AFFA-2E7D54D7384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69159B5-6998-F676-C099-A3B516B9204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A2BB8FA-7C7D-AAC3-03E6-C37C8DBCBD3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559741E-FA99-DDFE-22EC-ED37E8EFED2F}"/>
              </a:ext>
            </a:extLst>
          </p:cNvPr>
          <p:cNvSpPr>
            <a:spLocks noGrp="1"/>
          </p:cNvSpPr>
          <p:nvPr>
            <p:ph type="dt" sz="half" idx="10"/>
          </p:nvPr>
        </p:nvSpPr>
        <p:spPr/>
        <p:txBody>
          <a:bodyPr/>
          <a:lstStyle/>
          <a:p>
            <a:fld id="{1668BD36-13D9-4C7B-ABD9-936977653188}" type="datetime1">
              <a:rPr lang="en-GB" smtClean="0"/>
              <a:t>12/06/2025</a:t>
            </a:fld>
            <a:endParaRPr lang="en-GB"/>
          </a:p>
        </p:txBody>
      </p:sp>
      <p:sp>
        <p:nvSpPr>
          <p:cNvPr id="6" name="Footer Placeholder 5">
            <a:extLst>
              <a:ext uri="{FF2B5EF4-FFF2-40B4-BE49-F238E27FC236}">
                <a16:creationId xmlns:a16="http://schemas.microsoft.com/office/drawing/2014/main" id="{699B26E2-8080-3035-BA21-383ACED9E28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9C850BC-FE52-B1FF-6350-3E751999EFA8}"/>
              </a:ext>
            </a:extLst>
          </p:cNvPr>
          <p:cNvSpPr>
            <a:spLocks noGrp="1"/>
          </p:cNvSpPr>
          <p:nvPr>
            <p:ph type="sldNum" sz="quarter" idx="12"/>
          </p:nvPr>
        </p:nvSpPr>
        <p:spPr/>
        <p:txBody>
          <a:bodyPr/>
          <a:lstStyle/>
          <a:p>
            <a:fld id="{B314E427-6CF7-43B6-97E6-2AF54BA7AF6B}" type="slidenum">
              <a:rPr lang="en-GB" smtClean="0"/>
              <a:t>‹N°›</a:t>
            </a:fld>
            <a:endParaRPr lang="en-GB"/>
          </a:p>
        </p:txBody>
      </p:sp>
    </p:spTree>
    <p:extLst>
      <p:ext uri="{BB962C8B-B14F-4D97-AF65-F5344CB8AC3E}">
        <p14:creationId xmlns:p14="http://schemas.microsoft.com/office/powerpoint/2010/main" val="13308325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B7F57-39D5-C614-4045-8C236549A5CC}"/>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21B197E-557E-4427-9EBC-537882EF5A6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5A809BE-7F98-0816-D773-19E230279A9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463C4FD4-A360-787F-3521-F4F1240684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910C97-2AF6-44DB-A7CA-9349559F721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9AEE5B7E-BF9D-4409-F287-34E5C844F22B}"/>
              </a:ext>
            </a:extLst>
          </p:cNvPr>
          <p:cNvSpPr>
            <a:spLocks noGrp="1"/>
          </p:cNvSpPr>
          <p:nvPr>
            <p:ph type="dt" sz="half" idx="10"/>
          </p:nvPr>
        </p:nvSpPr>
        <p:spPr/>
        <p:txBody>
          <a:bodyPr/>
          <a:lstStyle/>
          <a:p>
            <a:fld id="{3A61EC61-6874-432E-AB6D-4527C313A61F}" type="datetime1">
              <a:rPr lang="en-GB" smtClean="0"/>
              <a:t>12/06/2025</a:t>
            </a:fld>
            <a:endParaRPr lang="en-GB"/>
          </a:p>
        </p:txBody>
      </p:sp>
      <p:sp>
        <p:nvSpPr>
          <p:cNvPr id="8" name="Footer Placeholder 7">
            <a:extLst>
              <a:ext uri="{FF2B5EF4-FFF2-40B4-BE49-F238E27FC236}">
                <a16:creationId xmlns:a16="http://schemas.microsoft.com/office/drawing/2014/main" id="{F2F544D2-2FFC-E60C-6746-D35B7B40D45C}"/>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CC603DE-1205-4F8E-BC80-C26DD5412929}"/>
              </a:ext>
            </a:extLst>
          </p:cNvPr>
          <p:cNvSpPr>
            <a:spLocks noGrp="1"/>
          </p:cNvSpPr>
          <p:nvPr>
            <p:ph type="sldNum" sz="quarter" idx="12"/>
          </p:nvPr>
        </p:nvSpPr>
        <p:spPr/>
        <p:txBody>
          <a:bodyPr/>
          <a:lstStyle/>
          <a:p>
            <a:fld id="{B314E427-6CF7-43B6-97E6-2AF54BA7AF6B}" type="slidenum">
              <a:rPr lang="en-GB" smtClean="0"/>
              <a:t>‹N°›</a:t>
            </a:fld>
            <a:endParaRPr lang="en-GB"/>
          </a:p>
        </p:txBody>
      </p:sp>
    </p:spTree>
    <p:extLst>
      <p:ext uri="{BB962C8B-B14F-4D97-AF65-F5344CB8AC3E}">
        <p14:creationId xmlns:p14="http://schemas.microsoft.com/office/powerpoint/2010/main" val="17706361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4CD14-B560-5502-8FA7-7C5ED24758A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83E143C-9D80-7B20-53F1-F62F1622C8A2}"/>
              </a:ext>
            </a:extLst>
          </p:cNvPr>
          <p:cNvSpPr>
            <a:spLocks noGrp="1"/>
          </p:cNvSpPr>
          <p:nvPr>
            <p:ph type="dt" sz="half" idx="10"/>
          </p:nvPr>
        </p:nvSpPr>
        <p:spPr/>
        <p:txBody>
          <a:bodyPr/>
          <a:lstStyle/>
          <a:p>
            <a:fld id="{8C272546-FDFB-4C2B-BA9C-8E8E9C3F840F}" type="datetime1">
              <a:rPr lang="en-GB" smtClean="0"/>
              <a:t>12/06/2025</a:t>
            </a:fld>
            <a:endParaRPr lang="en-GB"/>
          </a:p>
        </p:txBody>
      </p:sp>
      <p:sp>
        <p:nvSpPr>
          <p:cNvPr id="4" name="Footer Placeholder 3">
            <a:extLst>
              <a:ext uri="{FF2B5EF4-FFF2-40B4-BE49-F238E27FC236}">
                <a16:creationId xmlns:a16="http://schemas.microsoft.com/office/drawing/2014/main" id="{423224EA-D8AD-8467-6FA2-551B21B89EA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28D5502-98CE-1730-CF44-A6E43451D70E}"/>
              </a:ext>
            </a:extLst>
          </p:cNvPr>
          <p:cNvSpPr>
            <a:spLocks noGrp="1"/>
          </p:cNvSpPr>
          <p:nvPr>
            <p:ph type="sldNum" sz="quarter" idx="12"/>
          </p:nvPr>
        </p:nvSpPr>
        <p:spPr/>
        <p:txBody>
          <a:bodyPr/>
          <a:lstStyle/>
          <a:p>
            <a:fld id="{B314E427-6CF7-43B6-97E6-2AF54BA7AF6B}" type="slidenum">
              <a:rPr lang="en-GB" smtClean="0"/>
              <a:t>‹N°›</a:t>
            </a:fld>
            <a:endParaRPr lang="en-GB"/>
          </a:p>
        </p:txBody>
      </p:sp>
    </p:spTree>
    <p:extLst>
      <p:ext uri="{BB962C8B-B14F-4D97-AF65-F5344CB8AC3E}">
        <p14:creationId xmlns:p14="http://schemas.microsoft.com/office/powerpoint/2010/main" val="37167460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3D3DF59-3DE8-1391-6796-F8628072A2C5}"/>
              </a:ext>
            </a:extLst>
          </p:cNvPr>
          <p:cNvSpPr>
            <a:spLocks noGrp="1"/>
          </p:cNvSpPr>
          <p:nvPr>
            <p:ph type="dt" sz="half" idx="10"/>
          </p:nvPr>
        </p:nvSpPr>
        <p:spPr/>
        <p:txBody>
          <a:bodyPr/>
          <a:lstStyle/>
          <a:p>
            <a:fld id="{46C3BA0A-91F1-4968-A93D-99826EDF001F}" type="datetime1">
              <a:rPr lang="en-GB" smtClean="0"/>
              <a:t>12/06/2025</a:t>
            </a:fld>
            <a:endParaRPr lang="en-GB"/>
          </a:p>
        </p:txBody>
      </p:sp>
      <p:sp>
        <p:nvSpPr>
          <p:cNvPr id="3" name="Footer Placeholder 2">
            <a:extLst>
              <a:ext uri="{FF2B5EF4-FFF2-40B4-BE49-F238E27FC236}">
                <a16:creationId xmlns:a16="http://schemas.microsoft.com/office/drawing/2014/main" id="{3E1741E8-5687-ABAE-BFDA-ABFB4E3F957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3E1F92D4-5F01-F416-5AB8-5946FF38D62C}"/>
              </a:ext>
            </a:extLst>
          </p:cNvPr>
          <p:cNvSpPr>
            <a:spLocks noGrp="1"/>
          </p:cNvSpPr>
          <p:nvPr>
            <p:ph type="sldNum" sz="quarter" idx="12"/>
          </p:nvPr>
        </p:nvSpPr>
        <p:spPr/>
        <p:txBody>
          <a:bodyPr/>
          <a:lstStyle/>
          <a:p>
            <a:fld id="{B314E427-6CF7-43B6-97E6-2AF54BA7AF6B}" type="slidenum">
              <a:rPr lang="en-GB" smtClean="0"/>
              <a:t>‹N°›</a:t>
            </a:fld>
            <a:endParaRPr lang="en-GB"/>
          </a:p>
        </p:txBody>
      </p:sp>
    </p:spTree>
    <p:extLst>
      <p:ext uri="{BB962C8B-B14F-4D97-AF65-F5344CB8AC3E}">
        <p14:creationId xmlns:p14="http://schemas.microsoft.com/office/powerpoint/2010/main" val="10591753"/>
      </p:ext>
    </p:extLst>
  </p:cSld>
  <p:clrMapOvr>
    <a:masterClrMapping/>
  </p:clrMapOvr>
  <p:extLst>
    <p:ext uri="{DCECCB84-F9BA-43D5-87BE-67443E8EF086}">
      <p15:sldGuideLst xmlns:p15="http://schemas.microsoft.com/office/powerpoint/2012/main">
        <p15:guide id="1" userDrawn="1">
          <p15:clr>
            <a:srgbClr val="FBAE40"/>
          </p15:clr>
        </p15:guide>
        <p15:guide id="2" pos="7680" userDrawn="1">
          <p15:clr>
            <a:srgbClr val="FBAE40"/>
          </p15:clr>
        </p15:guide>
        <p15:guide id="3" pos="170" userDrawn="1">
          <p15:clr>
            <a:srgbClr val="FBAE40"/>
          </p15:clr>
        </p15:guide>
        <p15:guide id="4" pos="781" userDrawn="1">
          <p15:clr>
            <a:srgbClr val="FBAE40"/>
          </p15:clr>
        </p15:guide>
        <p15:guide id="5" pos="1393" userDrawn="1">
          <p15:clr>
            <a:srgbClr val="FBAE40"/>
          </p15:clr>
        </p15:guide>
        <p15:guide id="6" pos="2005" userDrawn="1">
          <p15:clr>
            <a:srgbClr val="FBAE40"/>
          </p15:clr>
        </p15:guide>
        <p15:guide id="7" pos="2616" userDrawn="1">
          <p15:clr>
            <a:srgbClr val="FBAE40"/>
          </p15:clr>
        </p15:guide>
        <p15:guide id="8" pos="3228" userDrawn="1">
          <p15:clr>
            <a:srgbClr val="FBAE40"/>
          </p15:clr>
        </p15:guide>
        <p15:guide id="9" pos="3840" userDrawn="1">
          <p15:clr>
            <a:srgbClr val="FBAE40"/>
          </p15:clr>
        </p15:guide>
        <p15:guide id="10" pos="4451" userDrawn="1">
          <p15:clr>
            <a:srgbClr val="FBAE40"/>
          </p15:clr>
        </p15:guide>
        <p15:guide id="11" pos="5063" userDrawn="1">
          <p15:clr>
            <a:srgbClr val="FBAE40"/>
          </p15:clr>
        </p15:guide>
        <p15:guide id="12" pos="5674" userDrawn="1">
          <p15:clr>
            <a:srgbClr val="FBAE40"/>
          </p15:clr>
        </p15:guide>
        <p15:guide id="13" pos="6286" userDrawn="1">
          <p15:clr>
            <a:srgbClr val="FBAE40"/>
          </p15:clr>
        </p15:guide>
        <p15:guide id="14" pos="6898" userDrawn="1">
          <p15:clr>
            <a:srgbClr val="FBAE40"/>
          </p15:clr>
        </p15:guide>
        <p15:guide id="15" pos="7509" userDrawn="1">
          <p15:clr>
            <a:srgbClr val="FBAE40"/>
          </p15:clr>
        </p15:guide>
        <p15:guide id="16" orient="horz" userDrawn="1">
          <p15:clr>
            <a:srgbClr val="FBAE40"/>
          </p15:clr>
        </p15:guide>
        <p15:guide id="17" orient="horz" pos="4320" userDrawn="1">
          <p15:clr>
            <a:srgbClr val="FBAE40"/>
          </p15:clr>
        </p15:guide>
        <p15:guide id="18" orient="horz" pos="170" userDrawn="1">
          <p15:clr>
            <a:srgbClr val="FBAE40"/>
          </p15:clr>
        </p15:guide>
        <p15:guide id="19" orient="horz" pos="414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80FC-954B-3902-44DA-728C90F766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DC7B6F3C-2639-35E1-B777-330AF3DBBD2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9E163C5E-D09C-57C5-2EC2-70882C8667C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ADF375C-4470-09D6-15BE-9BF9331F0EC2}"/>
              </a:ext>
            </a:extLst>
          </p:cNvPr>
          <p:cNvSpPr>
            <a:spLocks noGrp="1"/>
          </p:cNvSpPr>
          <p:nvPr>
            <p:ph type="dt" sz="half" idx="10"/>
          </p:nvPr>
        </p:nvSpPr>
        <p:spPr/>
        <p:txBody>
          <a:bodyPr/>
          <a:lstStyle/>
          <a:p>
            <a:fld id="{4D9632FD-5BBD-4244-BA3A-D503C1CBA3BC}" type="datetime1">
              <a:rPr lang="en-GB" smtClean="0"/>
              <a:t>12/06/2025</a:t>
            </a:fld>
            <a:endParaRPr lang="en-GB"/>
          </a:p>
        </p:txBody>
      </p:sp>
      <p:sp>
        <p:nvSpPr>
          <p:cNvPr id="6" name="Footer Placeholder 5">
            <a:extLst>
              <a:ext uri="{FF2B5EF4-FFF2-40B4-BE49-F238E27FC236}">
                <a16:creationId xmlns:a16="http://schemas.microsoft.com/office/drawing/2014/main" id="{DE8796F1-3EE7-BE1C-93CC-2135E5BBDCC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9C2ACCB-8014-917F-BE76-14490BABA76E}"/>
              </a:ext>
            </a:extLst>
          </p:cNvPr>
          <p:cNvSpPr>
            <a:spLocks noGrp="1"/>
          </p:cNvSpPr>
          <p:nvPr>
            <p:ph type="sldNum" sz="quarter" idx="12"/>
          </p:nvPr>
        </p:nvSpPr>
        <p:spPr/>
        <p:txBody>
          <a:bodyPr/>
          <a:lstStyle/>
          <a:p>
            <a:fld id="{B314E427-6CF7-43B6-97E6-2AF54BA7AF6B}" type="slidenum">
              <a:rPr lang="en-GB" smtClean="0"/>
              <a:t>‹N°›</a:t>
            </a:fld>
            <a:endParaRPr lang="en-GB"/>
          </a:p>
        </p:txBody>
      </p:sp>
    </p:spTree>
    <p:extLst>
      <p:ext uri="{BB962C8B-B14F-4D97-AF65-F5344CB8AC3E}">
        <p14:creationId xmlns:p14="http://schemas.microsoft.com/office/powerpoint/2010/main" val="20141912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65C55-DE59-AD45-2ED2-29A7911569C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E21D154-BEFF-4042-8137-4CE25890460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2B5F2CF-5E0E-84D9-7794-1E1EC50C41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C3EA2CF-FF4B-F037-DBB0-1AE8C8E06AA6}"/>
              </a:ext>
            </a:extLst>
          </p:cNvPr>
          <p:cNvSpPr>
            <a:spLocks noGrp="1"/>
          </p:cNvSpPr>
          <p:nvPr>
            <p:ph type="dt" sz="half" idx="10"/>
          </p:nvPr>
        </p:nvSpPr>
        <p:spPr/>
        <p:txBody>
          <a:bodyPr/>
          <a:lstStyle/>
          <a:p>
            <a:fld id="{300143D2-AECB-4E0C-926B-4C228B2836E9}" type="datetime1">
              <a:rPr lang="en-GB" smtClean="0"/>
              <a:t>12/06/2025</a:t>
            </a:fld>
            <a:endParaRPr lang="en-GB"/>
          </a:p>
        </p:txBody>
      </p:sp>
      <p:sp>
        <p:nvSpPr>
          <p:cNvPr id="6" name="Footer Placeholder 5">
            <a:extLst>
              <a:ext uri="{FF2B5EF4-FFF2-40B4-BE49-F238E27FC236}">
                <a16:creationId xmlns:a16="http://schemas.microsoft.com/office/drawing/2014/main" id="{0D4DDD2A-A5F6-F1C5-05E8-64CD9D51A77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B3BC7A3-B58F-13B7-9995-D27EF38245E9}"/>
              </a:ext>
            </a:extLst>
          </p:cNvPr>
          <p:cNvSpPr>
            <a:spLocks noGrp="1"/>
          </p:cNvSpPr>
          <p:nvPr>
            <p:ph type="sldNum" sz="quarter" idx="12"/>
          </p:nvPr>
        </p:nvSpPr>
        <p:spPr/>
        <p:txBody>
          <a:bodyPr/>
          <a:lstStyle/>
          <a:p>
            <a:fld id="{B314E427-6CF7-43B6-97E6-2AF54BA7AF6B}" type="slidenum">
              <a:rPr lang="en-GB" smtClean="0"/>
              <a:t>‹N°›</a:t>
            </a:fld>
            <a:endParaRPr lang="en-GB"/>
          </a:p>
        </p:txBody>
      </p:sp>
    </p:spTree>
    <p:extLst>
      <p:ext uri="{BB962C8B-B14F-4D97-AF65-F5344CB8AC3E}">
        <p14:creationId xmlns:p14="http://schemas.microsoft.com/office/powerpoint/2010/main" val="37122170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5AA1F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50F0E9-14D8-C13A-164C-5578C2FADFA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9BF6759-8623-0D18-E856-4DECD53A007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3B6CE54-4744-A76E-1786-3567DF9AFE2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C84C6F0-C806-439B-A49D-377A35F7F73D}" type="datetime1">
              <a:rPr lang="en-GB" smtClean="0"/>
              <a:t>12/06/2025</a:t>
            </a:fld>
            <a:endParaRPr lang="en-GB"/>
          </a:p>
        </p:txBody>
      </p:sp>
      <p:sp>
        <p:nvSpPr>
          <p:cNvPr id="5" name="Footer Placeholder 4">
            <a:extLst>
              <a:ext uri="{FF2B5EF4-FFF2-40B4-BE49-F238E27FC236}">
                <a16:creationId xmlns:a16="http://schemas.microsoft.com/office/drawing/2014/main" id="{B98C2A40-3DF3-1B62-CB90-5CF5DDD2B29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CCF77C0B-632A-3E36-411B-34F99CAAF38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314E427-6CF7-43B6-97E6-2AF54BA7AF6B}" type="slidenum">
              <a:rPr lang="en-GB" smtClean="0"/>
              <a:t>‹N°›</a:t>
            </a:fld>
            <a:endParaRPr lang="en-GB"/>
          </a:p>
        </p:txBody>
      </p:sp>
    </p:spTree>
    <p:extLst>
      <p:ext uri="{BB962C8B-B14F-4D97-AF65-F5344CB8AC3E}">
        <p14:creationId xmlns:p14="http://schemas.microsoft.com/office/powerpoint/2010/main" val="378680126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5AA1F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E770F58-8B7D-F427-3309-C3D961FD395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E1B47EA-74DB-F782-1229-A7D50D55DC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FC7489F-CA03-DF0D-936B-836DF94942C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CCE0A21-485C-446C-80A5-25E0B0E32401}" type="datetime1">
              <a:rPr lang="en-GB" smtClean="0"/>
              <a:t>12/06/2025</a:t>
            </a:fld>
            <a:endParaRPr lang="en-GB"/>
          </a:p>
        </p:txBody>
      </p:sp>
      <p:sp>
        <p:nvSpPr>
          <p:cNvPr id="5" name="Footer Placeholder 4">
            <a:extLst>
              <a:ext uri="{FF2B5EF4-FFF2-40B4-BE49-F238E27FC236}">
                <a16:creationId xmlns:a16="http://schemas.microsoft.com/office/drawing/2014/main" id="{6A0FD0F0-FA20-6934-DED2-4CCC6121D37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71C108D4-B6A7-9A0C-D98B-E13304A17E2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1EB0B11-EF5C-41FA-A23E-99E3908ED535}" type="slidenum">
              <a:rPr lang="en-GB" smtClean="0"/>
              <a:t>‹N°›</a:t>
            </a:fld>
            <a:endParaRPr lang="en-GB"/>
          </a:p>
        </p:txBody>
      </p:sp>
    </p:spTree>
    <p:extLst>
      <p:ext uri="{BB962C8B-B14F-4D97-AF65-F5344CB8AC3E}">
        <p14:creationId xmlns:p14="http://schemas.microsoft.com/office/powerpoint/2010/main" val="31104379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svg"/><Relationship Id="rId13" Type="http://schemas.openxmlformats.org/officeDocument/2006/relationships/image" Target="../media/image11.png"/><Relationship Id="rId18" Type="http://schemas.openxmlformats.org/officeDocument/2006/relationships/image" Target="../media/image16.svg"/><Relationship Id="rId3" Type="http://schemas.openxmlformats.org/officeDocument/2006/relationships/image" Target="../media/image1.png"/><Relationship Id="rId21" Type="http://schemas.openxmlformats.org/officeDocument/2006/relationships/image" Target="../media/image19.png"/><Relationship Id="rId7" Type="http://schemas.openxmlformats.org/officeDocument/2006/relationships/image" Target="../media/image5.png"/><Relationship Id="rId12" Type="http://schemas.openxmlformats.org/officeDocument/2006/relationships/image" Target="../media/image10.svg"/><Relationship Id="rId17" Type="http://schemas.openxmlformats.org/officeDocument/2006/relationships/image" Target="../media/image15.png"/><Relationship Id="rId2" Type="http://schemas.openxmlformats.org/officeDocument/2006/relationships/notesSlide" Target="../notesSlides/notesSlide1.xml"/><Relationship Id="rId16" Type="http://schemas.openxmlformats.org/officeDocument/2006/relationships/image" Target="../media/image14.svg"/><Relationship Id="rId20" Type="http://schemas.openxmlformats.org/officeDocument/2006/relationships/image" Target="../media/image18.svg"/><Relationship Id="rId1" Type="http://schemas.openxmlformats.org/officeDocument/2006/relationships/slideLayout" Target="../slideLayouts/slideLayout7.xml"/><Relationship Id="rId6" Type="http://schemas.openxmlformats.org/officeDocument/2006/relationships/image" Target="../media/image4.svg"/><Relationship Id="rId11" Type="http://schemas.openxmlformats.org/officeDocument/2006/relationships/image" Target="../media/image9.png"/><Relationship Id="rId5" Type="http://schemas.openxmlformats.org/officeDocument/2006/relationships/image" Target="../media/image3.png"/><Relationship Id="rId15" Type="http://schemas.openxmlformats.org/officeDocument/2006/relationships/image" Target="../media/image13.png"/><Relationship Id="rId10" Type="http://schemas.openxmlformats.org/officeDocument/2006/relationships/image" Target="../media/image8.svg"/><Relationship Id="rId19" Type="http://schemas.openxmlformats.org/officeDocument/2006/relationships/image" Target="../media/image17.png"/><Relationship Id="rId4" Type="http://schemas.openxmlformats.org/officeDocument/2006/relationships/image" Target="../media/image2.svg"/><Relationship Id="rId9" Type="http://schemas.openxmlformats.org/officeDocument/2006/relationships/image" Target="../media/image7.png"/><Relationship Id="rId14" Type="http://schemas.openxmlformats.org/officeDocument/2006/relationships/image" Target="../media/image12.svg"/></Relationships>
</file>

<file path=ppt/slides/_rels/slide10.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13.png"/><Relationship Id="rId7" Type="http://schemas.openxmlformats.org/officeDocument/2006/relationships/image" Target="../media/image64.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63.png"/><Relationship Id="rId5" Type="http://schemas.openxmlformats.org/officeDocument/2006/relationships/image" Target="../media/image62.png"/><Relationship Id="rId10" Type="http://schemas.openxmlformats.org/officeDocument/2006/relationships/image" Target="../media/image67.png"/><Relationship Id="rId4" Type="http://schemas.openxmlformats.org/officeDocument/2006/relationships/image" Target="../media/image14.svg"/><Relationship Id="rId9" Type="http://schemas.openxmlformats.org/officeDocument/2006/relationships/image" Target="../media/image66.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8" Type="http://schemas.openxmlformats.org/officeDocument/2006/relationships/image" Target="../media/image73.svg"/><Relationship Id="rId13" Type="http://schemas.openxmlformats.org/officeDocument/2006/relationships/image" Target="../media/image15.png"/><Relationship Id="rId3" Type="http://schemas.openxmlformats.org/officeDocument/2006/relationships/image" Target="../media/image68.png"/><Relationship Id="rId7" Type="http://schemas.openxmlformats.org/officeDocument/2006/relationships/image" Target="../media/image72.png"/><Relationship Id="rId12" Type="http://schemas.openxmlformats.org/officeDocument/2006/relationships/image" Target="../media/image77.sv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71.sv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svg"/><Relationship Id="rId4" Type="http://schemas.openxmlformats.org/officeDocument/2006/relationships/image" Target="../media/image69.svg"/><Relationship Id="rId9" Type="http://schemas.openxmlformats.org/officeDocument/2006/relationships/image" Target="../media/image74.png"/><Relationship Id="rId14" Type="http://schemas.openxmlformats.org/officeDocument/2006/relationships/image" Target="../media/image26.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image" Target="../media/image78.png"/><Relationship Id="rId4" Type="http://schemas.openxmlformats.org/officeDocument/2006/relationships/image" Target="../media/image26.svg"/></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26.svg"/></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26.svg"/></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26.svg"/></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81.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26.svg"/></Relationships>
</file>

<file path=ppt/slides/_rels/slide19.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15.png"/><Relationship Id="rId7" Type="http://schemas.openxmlformats.org/officeDocument/2006/relationships/image" Target="../media/image84.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82.png"/><Relationship Id="rId10" Type="http://schemas.openxmlformats.org/officeDocument/2006/relationships/image" Target="../media/image87.png"/><Relationship Id="rId4" Type="http://schemas.openxmlformats.org/officeDocument/2006/relationships/image" Target="../media/image26.svg"/><Relationship Id="rId9" Type="http://schemas.openxmlformats.org/officeDocument/2006/relationships/image" Target="../media/image86.png"/></Relationships>
</file>

<file path=ppt/slides/_rels/slide2.xml.rels><?xml version="1.0" encoding="UTF-8" standalone="yes"?>
<Relationships xmlns="http://schemas.openxmlformats.org/package/2006/relationships"><Relationship Id="rId13" Type="http://schemas.openxmlformats.org/officeDocument/2006/relationships/image" Target="../media/image13.png"/><Relationship Id="rId18" Type="http://schemas.openxmlformats.org/officeDocument/2006/relationships/image" Target="../media/image10.svg"/><Relationship Id="rId39" Type="http://schemas.openxmlformats.org/officeDocument/2006/relationships/slide" Target="slide110.xml"/><Relationship Id="rId21" Type="http://schemas.openxmlformats.org/officeDocument/2006/relationships/image" Target="../media/image11.png"/><Relationship Id="rId34" Type="http://schemas.openxmlformats.org/officeDocument/2006/relationships/image" Target="../media/image170.png"/><Relationship Id="rId42" Type="http://schemas.openxmlformats.org/officeDocument/2006/relationships/slide" Target="slide130.xml"/><Relationship Id="rId47" Type="http://schemas.openxmlformats.org/officeDocument/2006/relationships/image" Target="../media/image35.png"/><Relationship Id="rId50" Type="http://schemas.openxmlformats.org/officeDocument/2006/relationships/image" Target="../media/image36.png"/><Relationship Id="rId7" Type="http://schemas.openxmlformats.org/officeDocument/2006/relationships/slide" Target="slide310.xml"/><Relationship Id="rId2" Type="http://schemas.openxmlformats.org/officeDocument/2006/relationships/notesSlide" Target="../notesSlides/notesSlide2.xml"/><Relationship Id="rId16" Type="http://schemas.openxmlformats.org/officeDocument/2006/relationships/image" Target="../media/image25.svg"/><Relationship Id="rId29" Type="http://schemas.openxmlformats.org/officeDocument/2006/relationships/image" Target="../media/image33.png"/><Relationship Id="rId1" Type="http://schemas.openxmlformats.org/officeDocument/2006/relationships/slideLayout" Target="../slideLayouts/slideLayout7.xml"/><Relationship Id="rId11" Type="http://schemas.openxmlformats.org/officeDocument/2006/relationships/image" Target="../media/image1.png"/><Relationship Id="rId24" Type="http://schemas.openxmlformats.org/officeDocument/2006/relationships/image" Target="../media/image8.svg"/><Relationship Id="rId37" Type="http://schemas.openxmlformats.org/officeDocument/2006/relationships/image" Target="../media/image180.png"/><Relationship Id="rId40" Type="http://schemas.openxmlformats.org/officeDocument/2006/relationships/image" Target="../media/image190.png"/><Relationship Id="rId45" Type="http://schemas.openxmlformats.org/officeDocument/2006/relationships/slide" Target="slide200.xml"/><Relationship Id="rId53" Type="http://schemas.openxmlformats.org/officeDocument/2006/relationships/image" Target="../media/image3.png"/><Relationship Id="rId15" Type="http://schemas.openxmlformats.org/officeDocument/2006/relationships/image" Target="../media/image24.png"/><Relationship Id="rId23" Type="http://schemas.openxmlformats.org/officeDocument/2006/relationships/image" Target="../media/image7.png"/><Relationship Id="rId28" Type="http://schemas.openxmlformats.org/officeDocument/2006/relationships/slide" Target="slide50.xml"/><Relationship Id="rId36" Type="http://schemas.openxmlformats.org/officeDocument/2006/relationships/slide" Target="slide70.xml"/><Relationship Id="rId49" Type="http://schemas.openxmlformats.org/officeDocument/2006/relationships/image" Target="../media/image220.png"/><Relationship Id="rId10" Type="http://schemas.openxmlformats.org/officeDocument/2006/relationships/image" Target="../media/image22.svg"/><Relationship Id="rId19" Type="http://schemas.openxmlformats.org/officeDocument/2006/relationships/image" Target="../media/image15.png"/><Relationship Id="rId44" Type="http://schemas.openxmlformats.org/officeDocument/2006/relationships/image" Target="../media/image34.png"/><Relationship Id="rId52" Type="http://schemas.openxmlformats.org/officeDocument/2006/relationships/image" Target="../media/image340.png"/><Relationship Id="rId9" Type="http://schemas.openxmlformats.org/officeDocument/2006/relationships/image" Target="../media/image21.png"/><Relationship Id="rId14" Type="http://schemas.openxmlformats.org/officeDocument/2006/relationships/image" Target="../media/image23.svg"/><Relationship Id="rId22" Type="http://schemas.openxmlformats.org/officeDocument/2006/relationships/image" Target="../media/image27.svg"/><Relationship Id="rId30" Type="http://schemas.openxmlformats.org/officeDocument/2006/relationships/image" Target="../media/image29.png"/><Relationship Id="rId35" Type="http://schemas.openxmlformats.org/officeDocument/2006/relationships/image" Target="../media/image30.png"/><Relationship Id="rId43" Type="http://schemas.openxmlformats.org/officeDocument/2006/relationships/image" Target="../media/image200.png"/><Relationship Id="rId48" Type="http://schemas.openxmlformats.org/officeDocument/2006/relationships/slide" Target="slide290.xml"/><Relationship Id="rId8" Type="http://schemas.openxmlformats.org/officeDocument/2006/relationships/image" Target="../media/image230.png"/><Relationship Id="rId51" Type="http://schemas.openxmlformats.org/officeDocument/2006/relationships/slide" Target="slide43.xml"/><Relationship Id="rId3" Type="http://schemas.openxmlformats.org/officeDocument/2006/relationships/image" Target="../media/image20.png"/><Relationship Id="rId12" Type="http://schemas.openxmlformats.org/officeDocument/2006/relationships/image" Target="../media/image2.svg"/><Relationship Id="rId17" Type="http://schemas.openxmlformats.org/officeDocument/2006/relationships/image" Target="../media/image9.png"/><Relationship Id="rId25" Type="http://schemas.openxmlformats.org/officeDocument/2006/relationships/image" Target="../media/image28.png"/><Relationship Id="rId33" Type="http://schemas.openxmlformats.org/officeDocument/2006/relationships/slide" Target="slide90.xml"/><Relationship Id="rId38" Type="http://schemas.openxmlformats.org/officeDocument/2006/relationships/image" Target="../media/image31.png"/><Relationship Id="rId46" Type="http://schemas.openxmlformats.org/officeDocument/2006/relationships/image" Target="../media/image210.png"/><Relationship Id="rId20" Type="http://schemas.openxmlformats.org/officeDocument/2006/relationships/image" Target="../media/image26.svg"/><Relationship Id="rId41" Type="http://schemas.openxmlformats.org/officeDocument/2006/relationships/image" Target="../media/image32.png"/><Relationship Id="rId54" Type="http://schemas.openxmlformats.org/officeDocument/2006/relationships/image" Target="../media/image4.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12.svg"/></Relationships>
</file>

<file path=ppt/slides/_rels/slide22.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11.png"/><Relationship Id="rId7" Type="http://schemas.openxmlformats.org/officeDocument/2006/relationships/image" Target="../media/image90.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89.svg"/><Relationship Id="rId5" Type="http://schemas.openxmlformats.org/officeDocument/2006/relationships/image" Target="../media/image88.png"/><Relationship Id="rId4" Type="http://schemas.openxmlformats.org/officeDocument/2006/relationships/image" Target="../media/image12.svg"/></Relationships>
</file>

<file path=ppt/slides/_rels/slide23.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image" Target="../media/image11.png"/><Relationship Id="rId7" Type="http://schemas.openxmlformats.org/officeDocument/2006/relationships/image" Target="../media/image54.png"/><Relationship Id="rId12" Type="http://schemas.openxmlformats.org/officeDocument/2006/relationships/image" Target="../media/image61.sv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53.svg"/><Relationship Id="rId11" Type="http://schemas.openxmlformats.org/officeDocument/2006/relationships/image" Target="../media/image60.png"/><Relationship Id="rId5" Type="http://schemas.openxmlformats.org/officeDocument/2006/relationships/image" Target="../media/image52.png"/><Relationship Id="rId10" Type="http://schemas.openxmlformats.org/officeDocument/2006/relationships/image" Target="../media/image59.svg"/><Relationship Id="rId4" Type="http://schemas.openxmlformats.org/officeDocument/2006/relationships/image" Target="../media/image12.svg"/><Relationship Id="rId9" Type="http://schemas.openxmlformats.org/officeDocument/2006/relationships/image" Target="../media/image58.png"/></Relationships>
</file>

<file path=ppt/slides/_rels/slide24.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11.png"/><Relationship Id="rId7" Type="http://schemas.openxmlformats.org/officeDocument/2006/relationships/image" Target="../media/image94.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12.svg"/></Relationships>
</file>

<file path=ppt/slides/_rels/slide25.xml.rels><?xml version="1.0" encoding="UTF-8" standalone="yes"?>
<Relationships xmlns="http://schemas.openxmlformats.org/package/2006/relationships"><Relationship Id="rId8" Type="http://schemas.openxmlformats.org/officeDocument/2006/relationships/image" Target="../media/image99.svg"/><Relationship Id="rId13" Type="http://schemas.openxmlformats.org/officeDocument/2006/relationships/image" Target="../media/image104.png"/><Relationship Id="rId3" Type="http://schemas.openxmlformats.org/officeDocument/2006/relationships/image" Target="../media/image11.png"/><Relationship Id="rId7" Type="http://schemas.openxmlformats.org/officeDocument/2006/relationships/image" Target="../media/image98.png"/><Relationship Id="rId12" Type="http://schemas.openxmlformats.org/officeDocument/2006/relationships/image" Target="../media/image103.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97.svg"/><Relationship Id="rId11" Type="http://schemas.openxmlformats.org/officeDocument/2006/relationships/image" Target="../media/image102.png"/><Relationship Id="rId5" Type="http://schemas.openxmlformats.org/officeDocument/2006/relationships/image" Target="../media/image96.png"/><Relationship Id="rId10" Type="http://schemas.openxmlformats.org/officeDocument/2006/relationships/image" Target="../media/image101.png"/><Relationship Id="rId4" Type="http://schemas.openxmlformats.org/officeDocument/2006/relationships/image" Target="../media/image12.svg"/><Relationship Id="rId9" Type="http://schemas.openxmlformats.org/officeDocument/2006/relationships/image" Target="../media/image100.png"/><Relationship Id="rId14" Type="http://schemas.openxmlformats.org/officeDocument/2006/relationships/image" Target="../media/image105.png"/></Relationships>
</file>

<file path=ppt/slides/_rels/slide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106.png"/><Relationship Id="rId4" Type="http://schemas.openxmlformats.org/officeDocument/2006/relationships/image" Target="../media/image12.svg"/></Relationships>
</file>

<file path=ppt/slides/_rels/slide27.xml.rels><?xml version="1.0" encoding="UTF-8" standalone="yes"?>
<Relationships xmlns="http://schemas.openxmlformats.org/package/2006/relationships"><Relationship Id="rId8" Type="http://schemas.openxmlformats.org/officeDocument/2006/relationships/image" Target="../media/image110.svg"/><Relationship Id="rId3" Type="http://schemas.openxmlformats.org/officeDocument/2006/relationships/image" Target="../media/image11.png"/><Relationship Id="rId7" Type="http://schemas.openxmlformats.org/officeDocument/2006/relationships/image" Target="../media/image109.png"/><Relationship Id="rId12" Type="http://schemas.openxmlformats.org/officeDocument/2006/relationships/image" Target="../media/image114.sv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108.svg"/><Relationship Id="rId11" Type="http://schemas.openxmlformats.org/officeDocument/2006/relationships/image" Target="../media/image113.png"/><Relationship Id="rId5" Type="http://schemas.openxmlformats.org/officeDocument/2006/relationships/image" Target="../media/image107.png"/><Relationship Id="rId10" Type="http://schemas.openxmlformats.org/officeDocument/2006/relationships/image" Target="../media/image112.svg"/><Relationship Id="rId4" Type="http://schemas.openxmlformats.org/officeDocument/2006/relationships/image" Target="../media/image12.svg"/><Relationship Id="rId9" Type="http://schemas.openxmlformats.org/officeDocument/2006/relationships/image" Target="../media/image111.png"/></Relationships>
</file>

<file path=ppt/slides/_rels/slide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12.sv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117.svg"/><Relationship Id="rId5" Type="http://schemas.openxmlformats.org/officeDocument/2006/relationships/image" Target="../media/image9.png"/><Relationship Id="rId4" Type="http://schemas.openxmlformats.org/officeDocument/2006/relationships/image" Target="../media/image116.svg"/></Relationships>
</file>

<file path=ppt/slides/_rels/slide31.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117.svg"/><Relationship Id="rId5" Type="http://schemas.openxmlformats.org/officeDocument/2006/relationships/image" Target="../media/image9.png"/><Relationship Id="rId4" Type="http://schemas.openxmlformats.org/officeDocument/2006/relationships/image" Target="../media/image116.svg"/></Relationships>
</file>

<file path=ppt/slides/_rels/slide310.xml.rels><?xml version="1.0" encoding="UTF-8" standalone="yes"?>
<Relationships xmlns="http://schemas.openxmlformats.org/package/2006/relationships"><Relationship Id="rId3" Type="http://schemas.openxmlformats.org/officeDocument/2006/relationships/notesSlide" Target="../notesSlides/notesSlide310.xml"/><Relationship Id="rId2" Type="http://schemas.openxmlformats.org/officeDocument/2006/relationships/slideLayout" Target="../slideLayouts/slideLayout18.xml"/><Relationship Id="rId1" Type="http://schemas.openxmlformats.org/officeDocument/2006/relationships/tags" Target="../tags/tag1.xml"/></Relationships>
</file>

<file path=ppt/slides/_rels/slide32.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9.png"/><Relationship Id="rId7" Type="http://schemas.openxmlformats.org/officeDocument/2006/relationships/image" Target="../media/image121.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svg"/></Relationships>
</file>

<file path=ppt/slides/_rels/slide33.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118.svg"/><Relationship Id="rId7" Type="http://schemas.openxmlformats.org/officeDocument/2006/relationships/image" Target="../media/image126.png"/><Relationship Id="rId2" Type="http://schemas.openxmlformats.org/officeDocument/2006/relationships/image" Target="../media/image9.png"/><Relationship Id="rId1" Type="http://schemas.openxmlformats.org/officeDocument/2006/relationships/slideLayout" Target="../slideLayouts/slideLayout7.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png"/><Relationship Id="rId9" Type="http://schemas.openxmlformats.org/officeDocument/2006/relationships/image" Target="../media/image128.png"/></Relationships>
</file>

<file path=ppt/slides/_rels/slide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0.xml"/><Relationship Id="rId1" Type="http://schemas.openxmlformats.org/officeDocument/2006/relationships/slideLayout" Target="../slideLayouts/slideLayout7.xml"/><Relationship Id="rId4" Type="http://schemas.openxmlformats.org/officeDocument/2006/relationships/image" Target="../media/image118.sv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25.svg"/></Relationships>
</file>

<file path=ppt/slides/_rels/slide3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2.xml"/><Relationship Id="rId1" Type="http://schemas.openxmlformats.org/officeDocument/2006/relationships/slideLayout" Target="../slideLayouts/slideLayout7.xml"/><Relationship Id="rId4" Type="http://schemas.openxmlformats.org/officeDocument/2006/relationships/image" Target="../media/image25.svg"/></Relationships>
</file>

<file path=ppt/slides/_rels/slide3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131.png"/><Relationship Id="rId4" Type="http://schemas.openxmlformats.org/officeDocument/2006/relationships/image" Target="../media/image25.svg"/></Relationships>
</file>

<file path=ppt/slides/_rels/slide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image" Target="../media/image25.svg"/></Relationships>
</file>

<file path=ppt/slides/_rels/slide4.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3" Type="http://schemas.openxmlformats.org/officeDocument/2006/relationships/image" Target="../media/image3.png"/><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4.svg"/><Relationship Id="rId9" Type="http://schemas.openxmlformats.org/officeDocument/2006/relationships/image" Target="../media/image41.png"/><Relationship Id="rId14" Type="http://schemas.openxmlformats.org/officeDocument/2006/relationships/image" Target="../media/image46.png"/></Relationships>
</file>

<file path=ppt/slides/_rels/slide4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132.png"/><Relationship Id="rId4" Type="http://schemas.openxmlformats.org/officeDocument/2006/relationships/image" Target="../media/image25.svg"/></Relationships>
</file>

<file path=ppt/slides/_rels/slide4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133.png"/><Relationship Id="rId4" Type="http://schemas.openxmlformats.org/officeDocument/2006/relationships/image" Target="../media/image25.svg"/></Relationships>
</file>

<file path=ppt/slides/_rels/slide4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7.xml"/><Relationship Id="rId1" Type="http://schemas.openxmlformats.org/officeDocument/2006/relationships/slideLayout" Target="../slideLayouts/slideLayout7.xml"/><Relationship Id="rId4" Type="http://schemas.openxmlformats.org/officeDocument/2006/relationships/image" Target="../media/image25.sv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8" Type="http://schemas.openxmlformats.org/officeDocument/2006/relationships/image" Target="../media/image138.png"/><Relationship Id="rId3" Type="http://schemas.openxmlformats.org/officeDocument/2006/relationships/image" Target="../media/image134.png"/><Relationship Id="rId7" Type="http://schemas.openxmlformats.org/officeDocument/2006/relationships/image" Target="../media/image137.svg"/><Relationship Id="rId12" Type="http://schemas.openxmlformats.org/officeDocument/2006/relationships/image" Target="../media/image142.png"/><Relationship Id="rId2" Type="http://schemas.openxmlformats.org/officeDocument/2006/relationships/notesSlide" Target="../notesSlides/notesSlide38.xml"/><Relationship Id="rId1" Type="http://schemas.openxmlformats.org/officeDocument/2006/relationships/slideLayout" Target="../slideLayouts/slideLayout18.xml"/><Relationship Id="rId6" Type="http://schemas.openxmlformats.org/officeDocument/2006/relationships/image" Target="../media/image5.png"/><Relationship Id="rId11" Type="http://schemas.openxmlformats.org/officeDocument/2006/relationships/image" Target="../media/image141.png"/><Relationship Id="rId5" Type="http://schemas.openxmlformats.org/officeDocument/2006/relationships/image" Target="../media/image136.png"/><Relationship Id="rId10" Type="http://schemas.openxmlformats.org/officeDocument/2006/relationships/image" Target="../media/image140.png"/><Relationship Id="rId4" Type="http://schemas.openxmlformats.org/officeDocument/2006/relationships/image" Target="../media/image135.png"/><Relationship Id="rId9" Type="http://schemas.openxmlformats.org/officeDocument/2006/relationships/image" Target="../media/image139.png"/></Relationships>
</file>

<file path=ppt/slides/_rels/slide45.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image" Target="../media/image5.png"/><Relationship Id="rId7" Type="http://schemas.openxmlformats.org/officeDocument/2006/relationships/image" Target="../media/image145.png"/><Relationship Id="rId2" Type="http://schemas.openxmlformats.org/officeDocument/2006/relationships/notesSlide" Target="../notesSlides/notesSlide39.xml"/><Relationship Id="rId1" Type="http://schemas.openxmlformats.org/officeDocument/2006/relationships/slideLayout" Target="../slideLayouts/slideLayout18.xml"/><Relationship Id="rId6" Type="http://schemas.openxmlformats.org/officeDocument/2006/relationships/image" Target="../media/image144.png"/><Relationship Id="rId5" Type="http://schemas.openxmlformats.org/officeDocument/2006/relationships/image" Target="../media/image139.png"/><Relationship Id="rId4" Type="http://schemas.openxmlformats.org/officeDocument/2006/relationships/image" Target="../media/image143.sv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8" Type="http://schemas.microsoft.com/office/2017/06/relationships/model3d" Target="../media/model3d2.glb"/><Relationship Id="rId3" Type="http://schemas.openxmlformats.org/officeDocument/2006/relationships/image" Target="../media/image7.png"/><Relationship Id="rId7" Type="http://schemas.openxmlformats.org/officeDocument/2006/relationships/image" Target="../media/image49.jfif"/><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48.png"/><Relationship Id="rId5" Type="http://schemas.microsoft.com/office/2017/06/relationships/model3d" Target="../media/model3d1.glb"/><Relationship Id="rId10" Type="http://schemas.openxmlformats.org/officeDocument/2006/relationships/image" Target="../media/image51.png"/><Relationship Id="rId4" Type="http://schemas.openxmlformats.org/officeDocument/2006/relationships/image" Target="../media/image47.svg"/><Relationship Id="rId9" Type="http://schemas.openxmlformats.org/officeDocument/2006/relationships/image" Target="../media/image5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60.png"/><Relationship Id="rId3" Type="http://schemas.openxmlformats.org/officeDocument/2006/relationships/image" Target="../media/image21.png"/><Relationship Id="rId7" Type="http://schemas.openxmlformats.org/officeDocument/2006/relationships/image" Target="../media/image54.png"/><Relationship Id="rId12" Type="http://schemas.openxmlformats.org/officeDocument/2006/relationships/image" Target="../media/image59.sv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53.sv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svg"/><Relationship Id="rId4" Type="http://schemas.openxmlformats.org/officeDocument/2006/relationships/image" Target="../media/image22.svg"/><Relationship Id="rId9" Type="http://schemas.openxmlformats.org/officeDocument/2006/relationships/image" Target="../media/image56.png"/><Relationship Id="rId14" Type="http://schemas.openxmlformats.org/officeDocument/2006/relationships/image" Target="../media/image61.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84" name="!!mission_big">
            <a:extLst>
              <a:ext uri="{FF2B5EF4-FFF2-40B4-BE49-F238E27FC236}">
                <a16:creationId xmlns:a16="http://schemas.microsoft.com/office/drawing/2014/main" id="{6CFBC3F3-FDB5-FD3D-1481-3059D5AE927C}"/>
              </a:ext>
            </a:extLst>
          </p:cNvPr>
          <p:cNvSpPr/>
          <p:nvPr/>
        </p:nvSpPr>
        <p:spPr>
          <a:xfrm>
            <a:off x="9117521" y="2171152"/>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85" name="!!problem_big">
            <a:extLst>
              <a:ext uri="{FF2B5EF4-FFF2-40B4-BE49-F238E27FC236}">
                <a16:creationId xmlns:a16="http://schemas.microsoft.com/office/drawing/2014/main" id="{70765587-F598-D543-0EBF-D55B36CEEE1A}"/>
              </a:ext>
            </a:extLst>
          </p:cNvPr>
          <p:cNvSpPr/>
          <p:nvPr/>
        </p:nvSpPr>
        <p:spPr>
          <a:xfrm>
            <a:off x="9117521" y="2171152"/>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86" name="!!solution_big">
            <a:extLst>
              <a:ext uri="{FF2B5EF4-FFF2-40B4-BE49-F238E27FC236}">
                <a16:creationId xmlns:a16="http://schemas.microsoft.com/office/drawing/2014/main" id="{C7467CC4-78EB-06D5-5CC2-826B8F952ABA}"/>
              </a:ext>
            </a:extLst>
          </p:cNvPr>
          <p:cNvSpPr/>
          <p:nvPr/>
        </p:nvSpPr>
        <p:spPr>
          <a:xfrm>
            <a:off x="9117521" y="2171152"/>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87" name="!!potential_big">
            <a:extLst>
              <a:ext uri="{FF2B5EF4-FFF2-40B4-BE49-F238E27FC236}">
                <a16:creationId xmlns:a16="http://schemas.microsoft.com/office/drawing/2014/main" id="{0DD63B05-8199-0461-6984-B6F7AE7441D2}"/>
              </a:ext>
            </a:extLst>
          </p:cNvPr>
          <p:cNvSpPr/>
          <p:nvPr/>
        </p:nvSpPr>
        <p:spPr>
          <a:xfrm>
            <a:off x="9117521" y="2171152"/>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88" name="!!model_big">
            <a:extLst>
              <a:ext uri="{FF2B5EF4-FFF2-40B4-BE49-F238E27FC236}">
                <a16:creationId xmlns:a16="http://schemas.microsoft.com/office/drawing/2014/main" id="{91323A8D-2FBA-BE9B-F312-A3CBEBBE7784}"/>
              </a:ext>
            </a:extLst>
          </p:cNvPr>
          <p:cNvSpPr/>
          <p:nvPr/>
        </p:nvSpPr>
        <p:spPr>
          <a:xfrm>
            <a:off x="9117521" y="2171152"/>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89" name="!!growth_big">
            <a:extLst>
              <a:ext uri="{FF2B5EF4-FFF2-40B4-BE49-F238E27FC236}">
                <a16:creationId xmlns:a16="http://schemas.microsoft.com/office/drawing/2014/main" id="{1D2DDA0C-34D1-ECC6-DC5C-7CAFDFDA342F}"/>
              </a:ext>
            </a:extLst>
          </p:cNvPr>
          <p:cNvSpPr/>
          <p:nvPr/>
        </p:nvSpPr>
        <p:spPr>
          <a:xfrm>
            <a:off x="9117521" y="2171152"/>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90" name="!!competition_big">
            <a:extLst>
              <a:ext uri="{FF2B5EF4-FFF2-40B4-BE49-F238E27FC236}">
                <a16:creationId xmlns:a16="http://schemas.microsoft.com/office/drawing/2014/main" id="{21154ADD-2272-0B48-19E1-DEF64F150958}"/>
              </a:ext>
            </a:extLst>
          </p:cNvPr>
          <p:cNvSpPr/>
          <p:nvPr/>
        </p:nvSpPr>
        <p:spPr>
          <a:xfrm>
            <a:off x="9117521" y="2171152"/>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91" name="!!finanvials_big">
            <a:extLst>
              <a:ext uri="{FF2B5EF4-FFF2-40B4-BE49-F238E27FC236}">
                <a16:creationId xmlns:a16="http://schemas.microsoft.com/office/drawing/2014/main" id="{8411AC72-885D-0B03-2EFB-F3B3BF963E02}"/>
              </a:ext>
            </a:extLst>
          </p:cNvPr>
          <p:cNvSpPr/>
          <p:nvPr/>
        </p:nvSpPr>
        <p:spPr>
          <a:xfrm>
            <a:off x="9117521" y="2171152"/>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92" name="!!team_big">
            <a:extLst>
              <a:ext uri="{FF2B5EF4-FFF2-40B4-BE49-F238E27FC236}">
                <a16:creationId xmlns:a16="http://schemas.microsoft.com/office/drawing/2014/main" id="{1658FEF9-E6D9-F422-5CE4-804A8426C251}"/>
              </a:ext>
            </a:extLst>
          </p:cNvPr>
          <p:cNvSpPr/>
          <p:nvPr/>
        </p:nvSpPr>
        <p:spPr>
          <a:xfrm>
            <a:off x="9117521" y="2171152"/>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grpSp>
        <p:nvGrpSpPr>
          <p:cNvPr id="93" name="!!mission">
            <a:extLst>
              <a:ext uri="{FF2B5EF4-FFF2-40B4-BE49-F238E27FC236}">
                <a16:creationId xmlns:a16="http://schemas.microsoft.com/office/drawing/2014/main" id="{8ABB4022-F60A-F196-E21D-86C3F9E8C5A1}"/>
              </a:ext>
            </a:extLst>
          </p:cNvPr>
          <p:cNvGrpSpPr/>
          <p:nvPr/>
        </p:nvGrpSpPr>
        <p:grpSpPr>
          <a:xfrm>
            <a:off x="8877014" y="3177987"/>
            <a:ext cx="507586" cy="507586"/>
            <a:chOff x="1700837" y="1711757"/>
            <a:chExt cx="507586" cy="507586"/>
          </a:xfrm>
        </p:grpSpPr>
        <p:sp useBgFill="1">
          <p:nvSpPr>
            <p:cNvPr id="94" name="Oval 93">
              <a:extLst>
                <a:ext uri="{FF2B5EF4-FFF2-40B4-BE49-F238E27FC236}">
                  <a16:creationId xmlns:a16="http://schemas.microsoft.com/office/drawing/2014/main" id="{F2FE31D7-9CA3-8B92-8DAC-2622D9EA35A8}"/>
                </a:ext>
              </a:extLst>
            </p:cNvPr>
            <p:cNvSpPr/>
            <p:nvPr/>
          </p:nvSpPr>
          <p:spPr>
            <a:xfrm>
              <a:off x="1700837" y="1711757"/>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95" name="Graphic 94">
              <a:extLst>
                <a:ext uri="{FF2B5EF4-FFF2-40B4-BE49-F238E27FC236}">
                  <a16:creationId xmlns:a16="http://schemas.microsoft.com/office/drawing/2014/main" id="{F11E90DF-2951-D0AA-5249-88F7AFDCAB2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28630" y="1839550"/>
              <a:ext cx="252000" cy="252000"/>
            </a:xfrm>
            <a:prstGeom prst="rect">
              <a:avLst/>
            </a:prstGeom>
          </p:spPr>
        </p:pic>
      </p:grpSp>
      <p:grpSp>
        <p:nvGrpSpPr>
          <p:cNvPr id="96" name="!!problem">
            <a:extLst>
              <a:ext uri="{FF2B5EF4-FFF2-40B4-BE49-F238E27FC236}">
                <a16:creationId xmlns:a16="http://schemas.microsoft.com/office/drawing/2014/main" id="{EBA2FDB7-75AA-72DB-A82C-DD7851826BCB}"/>
              </a:ext>
            </a:extLst>
          </p:cNvPr>
          <p:cNvGrpSpPr/>
          <p:nvPr/>
        </p:nvGrpSpPr>
        <p:grpSpPr>
          <a:xfrm>
            <a:off x="9269889" y="2270860"/>
            <a:ext cx="507586" cy="507586"/>
            <a:chOff x="2240169" y="4083721"/>
            <a:chExt cx="507586" cy="507586"/>
          </a:xfrm>
        </p:grpSpPr>
        <p:sp useBgFill="1">
          <p:nvSpPr>
            <p:cNvPr id="97" name="Oval 96">
              <a:extLst>
                <a:ext uri="{FF2B5EF4-FFF2-40B4-BE49-F238E27FC236}">
                  <a16:creationId xmlns:a16="http://schemas.microsoft.com/office/drawing/2014/main" id="{CBDBE464-FFB6-460D-1355-070C8FFC1F50}"/>
                </a:ext>
              </a:extLst>
            </p:cNvPr>
            <p:cNvSpPr/>
            <p:nvPr/>
          </p:nvSpPr>
          <p:spPr>
            <a:xfrm>
              <a:off x="2240169" y="408372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98" name="Graphic 97">
              <a:extLst>
                <a:ext uri="{FF2B5EF4-FFF2-40B4-BE49-F238E27FC236}">
                  <a16:creationId xmlns:a16="http://schemas.microsoft.com/office/drawing/2014/main" id="{A487C0E8-ED67-0170-B6A2-7DBC567127C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67962" y="4211514"/>
              <a:ext cx="252000" cy="252000"/>
            </a:xfrm>
            <a:prstGeom prst="rect">
              <a:avLst/>
            </a:prstGeom>
          </p:spPr>
        </p:pic>
      </p:grpSp>
      <p:grpSp>
        <p:nvGrpSpPr>
          <p:cNvPr id="99" name="!!solution">
            <a:extLst>
              <a:ext uri="{FF2B5EF4-FFF2-40B4-BE49-F238E27FC236}">
                <a16:creationId xmlns:a16="http://schemas.microsoft.com/office/drawing/2014/main" id="{4315983D-37E1-2DB8-C6CD-897AB0F4A48B}"/>
              </a:ext>
            </a:extLst>
          </p:cNvPr>
          <p:cNvGrpSpPr/>
          <p:nvPr/>
        </p:nvGrpSpPr>
        <p:grpSpPr>
          <a:xfrm>
            <a:off x="10134862" y="1920139"/>
            <a:ext cx="507586" cy="507586"/>
            <a:chOff x="3825777" y="2263184"/>
            <a:chExt cx="507586" cy="507586"/>
          </a:xfrm>
        </p:grpSpPr>
        <p:sp useBgFill="1">
          <p:nvSpPr>
            <p:cNvPr id="100" name="Oval 99">
              <a:extLst>
                <a:ext uri="{FF2B5EF4-FFF2-40B4-BE49-F238E27FC236}">
                  <a16:creationId xmlns:a16="http://schemas.microsoft.com/office/drawing/2014/main" id="{466739ED-CC90-C839-AE9F-21A11220F695}"/>
                </a:ext>
              </a:extLst>
            </p:cNvPr>
            <p:cNvSpPr/>
            <p:nvPr/>
          </p:nvSpPr>
          <p:spPr>
            <a:xfrm>
              <a:off x="3825777" y="2263184"/>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01" name="Graphic 100">
              <a:extLst>
                <a:ext uri="{FF2B5EF4-FFF2-40B4-BE49-F238E27FC236}">
                  <a16:creationId xmlns:a16="http://schemas.microsoft.com/office/drawing/2014/main" id="{010F1219-9830-8E0D-73D1-3886EF6C351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53570" y="2390977"/>
              <a:ext cx="252000" cy="252000"/>
            </a:xfrm>
            <a:prstGeom prst="rect">
              <a:avLst/>
            </a:prstGeom>
          </p:spPr>
        </p:pic>
      </p:grpSp>
      <p:grpSp>
        <p:nvGrpSpPr>
          <p:cNvPr id="102" name="!!potential">
            <a:extLst>
              <a:ext uri="{FF2B5EF4-FFF2-40B4-BE49-F238E27FC236}">
                <a16:creationId xmlns:a16="http://schemas.microsoft.com/office/drawing/2014/main" id="{7EB825F4-9A36-9B07-53BB-3512C1270479}"/>
              </a:ext>
            </a:extLst>
          </p:cNvPr>
          <p:cNvGrpSpPr/>
          <p:nvPr/>
        </p:nvGrpSpPr>
        <p:grpSpPr>
          <a:xfrm>
            <a:off x="9269889" y="4015025"/>
            <a:ext cx="507586" cy="507586"/>
            <a:chOff x="4797684" y="4481585"/>
            <a:chExt cx="507586" cy="507586"/>
          </a:xfrm>
        </p:grpSpPr>
        <p:sp useBgFill="1">
          <p:nvSpPr>
            <p:cNvPr id="103" name="Oval 102">
              <a:extLst>
                <a:ext uri="{FF2B5EF4-FFF2-40B4-BE49-F238E27FC236}">
                  <a16:creationId xmlns:a16="http://schemas.microsoft.com/office/drawing/2014/main" id="{26293457-7725-C26F-5E8D-577FFD922349}"/>
                </a:ext>
              </a:extLst>
            </p:cNvPr>
            <p:cNvSpPr/>
            <p:nvPr/>
          </p:nvSpPr>
          <p:spPr>
            <a:xfrm>
              <a:off x="4797684" y="4481585"/>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04" name="Graphic 103">
              <a:extLst>
                <a:ext uri="{FF2B5EF4-FFF2-40B4-BE49-F238E27FC236}">
                  <a16:creationId xmlns:a16="http://schemas.microsoft.com/office/drawing/2014/main" id="{3BCCF682-C61A-869C-9529-636E0480323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925477" y="4609378"/>
              <a:ext cx="252000" cy="252000"/>
            </a:xfrm>
            <a:prstGeom prst="rect">
              <a:avLst/>
            </a:prstGeom>
          </p:spPr>
        </p:pic>
      </p:grpSp>
      <p:grpSp>
        <p:nvGrpSpPr>
          <p:cNvPr id="105" name="!!model">
            <a:extLst>
              <a:ext uri="{FF2B5EF4-FFF2-40B4-BE49-F238E27FC236}">
                <a16:creationId xmlns:a16="http://schemas.microsoft.com/office/drawing/2014/main" id="{78714283-B9F8-CB78-2DCC-FA801CDE60EE}"/>
              </a:ext>
            </a:extLst>
          </p:cNvPr>
          <p:cNvGrpSpPr/>
          <p:nvPr/>
        </p:nvGrpSpPr>
        <p:grpSpPr>
          <a:xfrm>
            <a:off x="10121576" y="3175207"/>
            <a:ext cx="507586" cy="507586"/>
            <a:chOff x="5832785" y="1868829"/>
            <a:chExt cx="507586" cy="507586"/>
          </a:xfrm>
        </p:grpSpPr>
        <p:sp useBgFill="1">
          <p:nvSpPr>
            <p:cNvPr id="106" name="Oval 105">
              <a:extLst>
                <a:ext uri="{FF2B5EF4-FFF2-40B4-BE49-F238E27FC236}">
                  <a16:creationId xmlns:a16="http://schemas.microsoft.com/office/drawing/2014/main" id="{750DC086-A827-EEA1-F118-DF41BE1504A7}"/>
                </a:ext>
              </a:extLst>
            </p:cNvPr>
            <p:cNvSpPr/>
            <p:nvPr/>
          </p:nvSpPr>
          <p:spPr>
            <a:xfrm>
              <a:off x="5832785" y="1868829"/>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07" name="Graphic 106">
              <a:extLst>
                <a:ext uri="{FF2B5EF4-FFF2-40B4-BE49-F238E27FC236}">
                  <a16:creationId xmlns:a16="http://schemas.microsoft.com/office/drawing/2014/main" id="{53BC1E00-DC2C-70CA-AD01-38FA56F5D2D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960578" y="1996622"/>
              <a:ext cx="252000" cy="252000"/>
            </a:xfrm>
            <a:prstGeom prst="rect">
              <a:avLst/>
            </a:prstGeom>
          </p:spPr>
        </p:pic>
      </p:grpSp>
      <p:grpSp>
        <p:nvGrpSpPr>
          <p:cNvPr id="108" name="!!growth">
            <a:extLst>
              <a:ext uri="{FF2B5EF4-FFF2-40B4-BE49-F238E27FC236}">
                <a16:creationId xmlns:a16="http://schemas.microsoft.com/office/drawing/2014/main" id="{166D8C8F-95DA-C3F8-C96B-26210A714E82}"/>
              </a:ext>
            </a:extLst>
          </p:cNvPr>
          <p:cNvGrpSpPr/>
          <p:nvPr/>
        </p:nvGrpSpPr>
        <p:grpSpPr>
          <a:xfrm>
            <a:off x="11012022" y="4015025"/>
            <a:ext cx="507586" cy="507586"/>
            <a:chOff x="6811776" y="4481585"/>
            <a:chExt cx="507586" cy="507586"/>
          </a:xfrm>
        </p:grpSpPr>
        <p:sp useBgFill="1">
          <p:nvSpPr>
            <p:cNvPr id="109" name="Oval 108">
              <a:extLst>
                <a:ext uri="{FF2B5EF4-FFF2-40B4-BE49-F238E27FC236}">
                  <a16:creationId xmlns:a16="http://schemas.microsoft.com/office/drawing/2014/main" id="{D1A935B9-16B8-4EA4-ECB5-F93E26ED1468}"/>
                </a:ext>
              </a:extLst>
            </p:cNvPr>
            <p:cNvSpPr/>
            <p:nvPr/>
          </p:nvSpPr>
          <p:spPr>
            <a:xfrm>
              <a:off x="6811776" y="4481585"/>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10" name="Graphic 109">
              <a:extLst>
                <a:ext uri="{FF2B5EF4-FFF2-40B4-BE49-F238E27FC236}">
                  <a16:creationId xmlns:a16="http://schemas.microsoft.com/office/drawing/2014/main" id="{B01ED3F3-C85A-6E07-2F45-1209EB11F2E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939569" y="4609378"/>
              <a:ext cx="252000" cy="252000"/>
            </a:xfrm>
            <a:prstGeom prst="rect">
              <a:avLst/>
            </a:prstGeom>
          </p:spPr>
        </p:pic>
      </p:grpSp>
      <p:grpSp>
        <p:nvGrpSpPr>
          <p:cNvPr id="111" name="!!competition">
            <a:extLst>
              <a:ext uri="{FF2B5EF4-FFF2-40B4-BE49-F238E27FC236}">
                <a16:creationId xmlns:a16="http://schemas.microsoft.com/office/drawing/2014/main" id="{A38DA15A-EDAF-D7D1-E4A2-ADB503D14FF0}"/>
              </a:ext>
            </a:extLst>
          </p:cNvPr>
          <p:cNvGrpSpPr/>
          <p:nvPr/>
        </p:nvGrpSpPr>
        <p:grpSpPr>
          <a:xfrm>
            <a:off x="11012022" y="2270860"/>
            <a:ext cx="507586" cy="507586"/>
            <a:chOff x="7790768" y="1868829"/>
            <a:chExt cx="507586" cy="507586"/>
          </a:xfrm>
        </p:grpSpPr>
        <p:sp useBgFill="1">
          <p:nvSpPr>
            <p:cNvPr id="112" name="Oval 111">
              <a:extLst>
                <a:ext uri="{FF2B5EF4-FFF2-40B4-BE49-F238E27FC236}">
                  <a16:creationId xmlns:a16="http://schemas.microsoft.com/office/drawing/2014/main" id="{FA4ECD52-FC45-BE81-5607-1EACF898E476}"/>
                </a:ext>
              </a:extLst>
            </p:cNvPr>
            <p:cNvSpPr/>
            <p:nvPr/>
          </p:nvSpPr>
          <p:spPr>
            <a:xfrm>
              <a:off x="7790768" y="1868829"/>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13" name="Graphic 112">
              <a:extLst>
                <a:ext uri="{FF2B5EF4-FFF2-40B4-BE49-F238E27FC236}">
                  <a16:creationId xmlns:a16="http://schemas.microsoft.com/office/drawing/2014/main" id="{A7042EB4-E775-C9F5-4107-E17F5847A8D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918561" y="1996622"/>
              <a:ext cx="252000" cy="252000"/>
            </a:xfrm>
            <a:prstGeom prst="rect">
              <a:avLst/>
            </a:prstGeom>
          </p:spPr>
        </p:pic>
      </p:grpSp>
      <p:grpSp>
        <p:nvGrpSpPr>
          <p:cNvPr id="114" name="!!financials">
            <a:extLst>
              <a:ext uri="{FF2B5EF4-FFF2-40B4-BE49-F238E27FC236}">
                <a16:creationId xmlns:a16="http://schemas.microsoft.com/office/drawing/2014/main" id="{AF69D5A7-292C-208C-2C3B-0888F50AA762}"/>
              </a:ext>
            </a:extLst>
          </p:cNvPr>
          <p:cNvGrpSpPr/>
          <p:nvPr/>
        </p:nvGrpSpPr>
        <p:grpSpPr>
          <a:xfrm>
            <a:off x="10121576" y="4394818"/>
            <a:ext cx="507586" cy="507586"/>
            <a:chOff x="8769760" y="4481585"/>
            <a:chExt cx="507586" cy="507586"/>
          </a:xfrm>
        </p:grpSpPr>
        <p:sp useBgFill="1">
          <p:nvSpPr>
            <p:cNvPr id="115" name="Oval 114">
              <a:extLst>
                <a:ext uri="{FF2B5EF4-FFF2-40B4-BE49-F238E27FC236}">
                  <a16:creationId xmlns:a16="http://schemas.microsoft.com/office/drawing/2014/main" id="{1F054C56-E672-E4B6-04C9-35767206F4F3}"/>
                </a:ext>
              </a:extLst>
            </p:cNvPr>
            <p:cNvSpPr/>
            <p:nvPr/>
          </p:nvSpPr>
          <p:spPr>
            <a:xfrm>
              <a:off x="8769760" y="4481585"/>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16" name="Graphic 115">
              <a:extLst>
                <a:ext uri="{FF2B5EF4-FFF2-40B4-BE49-F238E27FC236}">
                  <a16:creationId xmlns:a16="http://schemas.microsoft.com/office/drawing/2014/main" id="{388FB701-4737-34FB-B142-FABD96D6D8EB}"/>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897553" y="4609378"/>
              <a:ext cx="252000" cy="252000"/>
            </a:xfrm>
            <a:prstGeom prst="rect">
              <a:avLst/>
            </a:prstGeom>
          </p:spPr>
        </p:pic>
      </p:grpSp>
      <p:grpSp>
        <p:nvGrpSpPr>
          <p:cNvPr id="117" name="!!team">
            <a:extLst>
              <a:ext uri="{FF2B5EF4-FFF2-40B4-BE49-F238E27FC236}">
                <a16:creationId xmlns:a16="http://schemas.microsoft.com/office/drawing/2014/main" id="{BF8EA430-7BE0-C952-3460-EF403EE26AFC}"/>
              </a:ext>
            </a:extLst>
          </p:cNvPr>
          <p:cNvGrpSpPr/>
          <p:nvPr/>
        </p:nvGrpSpPr>
        <p:grpSpPr>
          <a:xfrm>
            <a:off x="11334790" y="3177987"/>
            <a:ext cx="507586" cy="507586"/>
            <a:chOff x="9748751" y="1868829"/>
            <a:chExt cx="507586" cy="507586"/>
          </a:xfrm>
        </p:grpSpPr>
        <p:sp useBgFill="1">
          <p:nvSpPr>
            <p:cNvPr id="118" name="Oval 117">
              <a:extLst>
                <a:ext uri="{FF2B5EF4-FFF2-40B4-BE49-F238E27FC236}">
                  <a16:creationId xmlns:a16="http://schemas.microsoft.com/office/drawing/2014/main" id="{9948F951-A67C-76B0-7315-7D6113CEF3E5}"/>
                </a:ext>
              </a:extLst>
            </p:cNvPr>
            <p:cNvSpPr/>
            <p:nvPr/>
          </p:nvSpPr>
          <p:spPr>
            <a:xfrm>
              <a:off x="9748751" y="1868829"/>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19" name="Graphic 118">
              <a:extLst>
                <a:ext uri="{FF2B5EF4-FFF2-40B4-BE49-F238E27FC236}">
                  <a16:creationId xmlns:a16="http://schemas.microsoft.com/office/drawing/2014/main" id="{45AB6F8C-9C3C-6949-CA22-BAD02A87EB0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876544" y="1996622"/>
              <a:ext cx="252000" cy="252000"/>
            </a:xfrm>
            <a:prstGeom prst="rect">
              <a:avLst/>
            </a:prstGeom>
          </p:spPr>
        </p:pic>
      </p:grpSp>
      <p:sp useBgFill="1">
        <p:nvSpPr>
          <p:cNvPr id="29" name="Rectangle: Rounded Corners 28">
            <a:extLst>
              <a:ext uri="{FF2B5EF4-FFF2-40B4-BE49-F238E27FC236}">
                <a16:creationId xmlns:a16="http://schemas.microsoft.com/office/drawing/2014/main" id="{9BBAA737-4A6D-DE20-4BB9-47527FEF5B66}"/>
              </a:ext>
            </a:extLst>
          </p:cNvPr>
          <p:cNvSpPr/>
          <p:nvPr/>
        </p:nvSpPr>
        <p:spPr>
          <a:xfrm>
            <a:off x="10703959" y="257132"/>
            <a:ext cx="1216579" cy="403894"/>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spc="30" dirty="0">
                <a:solidFill>
                  <a:prstClr val="white"/>
                </a:solidFill>
                <a:latin typeface="Darker Grotesque" pitchFamily="2" charset="0"/>
              </a:rPr>
              <a:t>12 Juin 2025</a:t>
            </a:r>
            <a:endParaRPr lang="en-GB" sz="1200" spc="30" dirty="0">
              <a:solidFill>
                <a:prstClr val="white"/>
              </a:solidFill>
              <a:latin typeface="Darker Grotesque" pitchFamily="2" charset="0"/>
            </a:endParaRPr>
          </a:p>
        </p:txBody>
      </p:sp>
      <p:sp useBgFill="1">
        <p:nvSpPr>
          <p:cNvPr id="33" name="Rectangle: Rounded Corners 32">
            <a:extLst>
              <a:ext uri="{FF2B5EF4-FFF2-40B4-BE49-F238E27FC236}">
                <a16:creationId xmlns:a16="http://schemas.microsoft.com/office/drawing/2014/main" id="{7A420111-AE35-BCBA-8E61-F7CE753B5A29}"/>
              </a:ext>
            </a:extLst>
          </p:cNvPr>
          <p:cNvSpPr/>
          <p:nvPr/>
        </p:nvSpPr>
        <p:spPr>
          <a:xfrm>
            <a:off x="269875" y="6182644"/>
            <a:ext cx="2320925" cy="403894"/>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200" dirty="0">
                <a:solidFill>
                  <a:prstClr val="white"/>
                </a:solidFill>
                <a:latin typeface="Darker Grotesque" pitchFamily="2" charset="0"/>
              </a:rPr>
              <a:t> </a:t>
            </a:r>
            <a:r>
              <a:rPr lang="fr-FR" sz="1100" dirty="0">
                <a:solidFill>
                  <a:prstClr val="white"/>
                </a:solidFill>
                <a:latin typeface="Darker Grotesque" pitchFamily="2" charset="0"/>
              </a:rPr>
              <a:t>Présidente  Mme</a:t>
            </a:r>
            <a:r>
              <a:rPr lang="fr-FR" sz="1200" dirty="0">
                <a:solidFill>
                  <a:prstClr val="white"/>
                </a:solidFill>
                <a:latin typeface="Darker Grotesque" pitchFamily="2" charset="0"/>
              </a:rPr>
              <a:t>. </a:t>
            </a:r>
            <a:r>
              <a:rPr lang="fr-FR" sz="1000" dirty="0" err="1"/>
              <a:t>Jihene</a:t>
            </a:r>
            <a:r>
              <a:rPr lang="fr-FR" sz="1000" dirty="0"/>
              <a:t> El </a:t>
            </a:r>
            <a:r>
              <a:rPr lang="fr-FR" sz="1000" dirty="0" err="1"/>
              <a:t>Ouakdi</a:t>
            </a:r>
            <a:endParaRPr lang="fr-FR" dirty="0"/>
          </a:p>
          <a:p>
            <a:endParaRPr lang="fr-FR" sz="1200" dirty="0">
              <a:solidFill>
                <a:prstClr val="white"/>
              </a:solidFill>
              <a:latin typeface="Darker Grotesque" pitchFamily="2" charset="0"/>
            </a:endParaRPr>
          </a:p>
        </p:txBody>
      </p:sp>
      <p:sp useBgFill="1">
        <p:nvSpPr>
          <p:cNvPr id="2" name="Oval 1">
            <a:extLst>
              <a:ext uri="{FF2B5EF4-FFF2-40B4-BE49-F238E27FC236}">
                <a16:creationId xmlns:a16="http://schemas.microsoft.com/office/drawing/2014/main" id="{FF5A31A3-BF28-2433-3BBF-115CE72C0109}"/>
              </a:ext>
            </a:extLst>
          </p:cNvPr>
          <p:cNvSpPr/>
          <p:nvPr/>
        </p:nvSpPr>
        <p:spPr>
          <a:xfrm>
            <a:off x="1374450" y="2925284"/>
            <a:ext cx="865705" cy="865703"/>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3" name="Oval 2">
            <a:extLst>
              <a:ext uri="{FF2B5EF4-FFF2-40B4-BE49-F238E27FC236}">
                <a16:creationId xmlns:a16="http://schemas.microsoft.com/office/drawing/2014/main" id="{A232ADF8-5A6D-1920-3C3D-D66020BEAB3E}"/>
              </a:ext>
            </a:extLst>
          </p:cNvPr>
          <p:cNvSpPr/>
          <p:nvPr/>
        </p:nvSpPr>
        <p:spPr>
          <a:xfrm>
            <a:off x="1394829" y="3765268"/>
            <a:ext cx="416014" cy="416013"/>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4" name="Oval 3">
            <a:extLst>
              <a:ext uri="{FF2B5EF4-FFF2-40B4-BE49-F238E27FC236}">
                <a16:creationId xmlns:a16="http://schemas.microsoft.com/office/drawing/2014/main" id="{AB3CD34B-7123-36FB-E248-42347FE8B355}"/>
              </a:ext>
            </a:extLst>
          </p:cNvPr>
          <p:cNvSpPr/>
          <p:nvPr/>
        </p:nvSpPr>
        <p:spPr>
          <a:xfrm>
            <a:off x="1246092" y="3608388"/>
            <a:ext cx="244030" cy="244029"/>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p:nvSpPr>
          <p:cNvPr id="30" name="Slide Title">
            <a:extLst>
              <a:ext uri="{FF2B5EF4-FFF2-40B4-BE49-F238E27FC236}">
                <a16:creationId xmlns:a16="http://schemas.microsoft.com/office/drawing/2014/main" id="{50869B1A-C228-34B2-D439-4247C207C481}"/>
              </a:ext>
            </a:extLst>
          </p:cNvPr>
          <p:cNvSpPr txBox="1"/>
          <p:nvPr/>
        </p:nvSpPr>
        <p:spPr>
          <a:xfrm>
            <a:off x="4676824" y="2898488"/>
            <a:ext cx="4500000" cy="612284"/>
          </a:xfrm>
          <a:prstGeom prst="rect">
            <a:avLst/>
          </a:prstGeom>
          <a:noFill/>
        </p:spPr>
        <p:txBody>
          <a:bodyPr wrap="square" lIns="0">
            <a:spAutoFit/>
          </a:bodyPr>
          <a:lstStyle>
            <a:defPPr>
              <a:defRPr lang="en-US"/>
            </a:defPPr>
            <a:lvl1pPr algn="ctr">
              <a:defRPr sz="5400">
                <a:solidFill>
                  <a:schemeClr val="bg1"/>
                </a:solidFill>
                <a:latin typeface="Orbitron Black" pitchFamily="2" charset="0"/>
              </a:defRPr>
            </a:lvl1pPr>
          </a:lstStyle>
          <a:p>
            <a:pPr lvl="0" algn="l">
              <a:lnSpc>
                <a:spcPct val="55357"/>
              </a:lnSpc>
              <a:defRPr/>
            </a:pPr>
            <a:r>
              <a:rPr lang="fr-FR" b="1" spc="-150" dirty="0">
                <a:solidFill>
                  <a:prstClr val="white"/>
                </a:solidFill>
                <a:effectLst>
                  <a:outerShdw blurRad="88900" dist="88900" dir="2700000" algn="tl" rotWithShape="0">
                    <a:prstClr val="black">
                      <a:alpha val="50000"/>
                    </a:prstClr>
                  </a:outerShdw>
                </a:effectLst>
                <a:latin typeface="Darker Grotesque SemiBold" pitchFamily="2" charset="0"/>
              </a:rPr>
              <a:t>Cabinoo</a:t>
            </a:r>
            <a:endParaRPr kumimoji="0" lang="en-US" b="1" i="1"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Playfair Display" pitchFamily="2" charset="0"/>
            </a:endParaRPr>
          </a:p>
        </p:txBody>
      </p:sp>
      <p:pic>
        <p:nvPicPr>
          <p:cNvPr id="2052" name="Picture 4" descr="https://lh7-rt.googleusercontent.com/slidesz/AGV_vUfFqoUlLQBDDsgPHK9ofZfqAwyXYSx8O0LjX1WDckrnAqBmlh5zPjwHTncsaBEgOLMgU5XncqSCMoMNSVtqEVVhV0mHoAEE2_y8QWu9u81P6tOWdDAas95AFa6c6afJo1e_0m6Zgaf6uTI1Wh9keg2uwSyTaMKnXPo0CCWMD3UTPA=s2048?key=YWB4cb4V9hoEOjKio5xLsA">
            <a:extLst>
              <a:ext uri="{FF2B5EF4-FFF2-40B4-BE49-F238E27FC236}">
                <a16:creationId xmlns:a16="http://schemas.microsoft.com/office/drawing/2014/main" id="{02D7D14B-D888-4489-BCE3-6D27F7FE832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34915" y="121635"/>
            <a:ext cx="1402118" cy="823984"/>
          </a:xfrm>
          <a:prstGeom prst="rect">
            <a:avLst/>
          </a:prstGeom>
          <a:noFill/>
          <a:extLst>
            <a:ext uri="{909E8E84-426E-40DD-AFC4-6F175D3DCCD1}">
              <a14:hiddenFill xmlns:a14="http://schemas.microsoft.com/office/drawing/2010/main">
                <a:solidFill>
                  <a:srgbClr val="FFFFFF"/>
                </a:solidFill>
              </a14:hiddenFill>
            </a:ext>
          </a:extLst>
        </p:spPr>
      </p:pic>
      <p:sp useBgFill="1">
        <p:nvSpPr>
          <p:cNvPr id="60" name="Rectangle: Rounded Corners 59">
            <a:extLst>
              <a:ext uri="{FF2B5EF4-FFF2-40B4-BE49-F238E27FC236}">
                <a16:creationId xmlns:a16="http://schemas.microsoft.com/office/drawing/2014/main" id="{A30D9EE5-0176-4342-8A68-5154A9ABB367}"/>
              </a:ext>
            </a:extLst>
          </p:cNvPr>
          <p:cNvSpPr/>
          <p:nvPr/>
        </p:nvSpPr>
        <p:spPr>
          <a:xfrm>
            <a:off x="4581288" y="5029065"/>
            <a:ext cx="2624369" cy="584302"/>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dirty="0">
                <a:solidFill>
                  <a:prstClr val="white"/>
                </a:solidFill>
                <a:latin typeface="Darker Grotesque" pitchFamily="2" charset="0"/>
              </a:rPr>
              <a:t>Réalisé par : </a:t>
            </a:r>
          </a:p>
          <a:p>
            <a:pPr algn="ctr"/>
            <a:r>
              <a:rPr lang="fr-FR" sz="1200" dirty="0">
                <a:solidFill>
                  <a:prstClr val="white"/>
                </a:solidFill>
                <a:latin typeface="Darker Grotesque" pitchFamily="2" charset="0"/>
              </a:rPr>
              <a:t>Khaled </a:t>
            </a:r>
            <a:r>
              <a:rPr lang="fr-FR" sz="1200" dirty="0" err="1">
                <a:solidFill>
                  <a:prstClr val="white"/>
                </a:solidFill>
                <a:latin typeface="Darker Grotesque" pitchFamily="2" charset="0"/>
              </a:rPr>
              <a:t>Abdellatif,Adem</a:t>
            </a:r>
            <a:r>
              <a:rPr lang="fr-FR" sz="1200" dirty="0">
                <a:solidFill>
                  <a:prstClr val="white"/>
                </a:solidFill>
                <a:latin typeface="Darker Grotesque" pitchFamily="2" charset="0"/>
              </a:rPr>
              <a:t> </a:t>
            </a:r>
            <a:r>
              <a:rPr lang="fr-FR" sz="1200" dirty="0" err="1">
                <a:solidFill>
                  <a:prstClr val="white"/>
                </a:solidFill>
                <a:latin typeface="Darker Grotesque" pitchFamily="2" charset="0"/>
              </a:rPr>
              <a:t>Hamroun</a:t>
            </a:r>
            <a:endParaRPr lang="en-GB" sz="1200" spc="30" dirty="0">
              <a:solidFill>
                <a:prstClr val="white"/>
              </a:solidFill>
              <a:latin typeface="Darker Grotesque" pitchFamily="2" charset="0"/>
            </a:endParaRPr>
          </a:p>
        </p:txBody>
      </p:sp>
      <p:sp useBgFill="1">
        <p:nvSpPr>
          <p:cNvPr id="61" name="Rectangle: Rounded Corners 60">
            <a:extLst>
              <a:ext uri="{FF2B5EF4-FFF2-40B4-BE49-F238E27FC236}">
                <a16:creationId xmlns:a16="http://schemas.microsoft.com/office/drawing/2014/main" id="{D5A4127E-5E7A-48A0-8A0D-2AAABD30B775}"/>
              </a:ext>
            </a:extLst>
          </p:cNvPr>
          <p:cNvSpPr/>
          <p:nvPr/>
        </p:nvSpPr>
        <p:spPr>
          <a:xfrm>
            <a:off x="9397682" y="6196974"/>
            <a:ext cx="2623489" cy="403894"/>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200" dirty="0">
                <a:solidFill>
                  <a:prstClr val="white"/>
                </a:solidFill>
                <a:latin typeface="Darker Grotesque" pitchFamily="2" charset="0"/>
              </a:rPr>
              <a:t>Rapporteuse  Mme. </a:t>
            </a:r>
            <a:r>
              <a:rPr lang="fr-FR" sz="1200" dirty="0" err="1">
                <a:solidFill>
                  <a:prstClr val="white"/>
                </a:solidFill>
                <a:latin typeface="Darker Grotesque" pitchFamily="2" charset="0"/>
              </a:rPr>
              <a:t>Dorra</a:t>
            </a:r>
            <a:r>
              <a:rPr lang="fr-FR" sz="1200" dirty="0">
                <a:solidFill>
                  <a:prstClr val="white"/>
                </a:solidFill>
                <a:latin typeface="Darker Grotesque" pitchFamily="2" charset="0"/>
              </a:rPr>
              <a:t> </a:t>
            </a:r>
            <a:r>
              <a:rPr lang="fr-FR" sz="1200" dirty="0" err="1">
                <a:solidFill>
                  <a:prstClr val="white"/>
                </a:solidFill>
                <a:latin typeface="Darker Grotesque" pitchFamily="2" charset="0"/>
              </a:rPr>
              <a:t>Guermazi</a:t>
            </a:r>
            <a:endParaRPr lang="fr-FR" sz="1200" dirty="0">
              <a:solidFill>
                <a:prstClr val="white"/>
              </a:solidFill>
              <a:latin typeface="Darker Grotesque" pitchFamily="2" charset="0"/>
            </a:endParaRPr>
          </a:p>
        </p:txBody>
      </p:sp>
      <p:sp useBgFill="1">
        <p:nvSpPr>
          <p:cNvPr id="63" name="Rectangle: Rounded Corners 62">
            <a:extLst>
              <a:ext uri="{FF2B5EF4-FFF2-40B4-BE49-F238E27FC236}">
                <a16:creationId xmlns:a16="http://schemas.microsoft.com/office/drawing/2014/main" id="{0075A18E-0F86-46E6-B1DA-8BBE6B5487A4}"/>
              </a:ext>
            </a:extLst>
          </p:cNvPr>
          <p:cNvSpPr/>
          <p:nvPr/>
        </p:nvSpPr>
        <p:spPr>
          <a:xfrm>
            <a:off x="4480521" y="5879742"/>
            <a:ext cx="2825905" cy="721126"/>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200" dirty="0">
              <a:solidFill>
                <a:prstClr val="white"/>
              </a:solidFill>
              <a:latin typeface="Darker Grotesque" pitchFamily="2" charset="0"/>
            </a:endParaRPr>
          </a:p>
          <a:p>
            <a:pPr algn="ctr"/>
            <a:r>
              <a:rPr lang="fr-FR" sz="1200" dirty="0">
                <a:solidFill>
                  <a:prstClr val="white"/>
                </a:solidFill>
                <a:latin typeface="Darker Grotesque" pitchFamily="2" charset="0"/>
              </a:rPr>
              <a:t>Encadré par </a:t>
            </a:r>
          </a:p>
          <a:p>
            <a:pPr algn="ctr"/>
            <a:r>
              <a:rPr lang="fr-FR" sz="1200" dirty="0">
                <a:solidFill>
                  <a:prstClr val="white"/>
                </a:solidFill>
                <a:latin typeface="Darker Grotesque" pitchFamily="2" charset="0"/>
              </a:rPr>
              <a:t>ESEN      Mme</a:t>
            </a:r>
            <a:r>
              <a:rPr lang="fr-FR" sz="1000" dirty="0">
                <a:solidFill>
                  <a:prstClr val="white"/>
                </a:solidFill>
                <a:latin typeface="Darker Grotesque" pitchFamily="2" charset="0"/>
              </a:rPr>
              <a:t>. </a:t>
            </a:r>
            <a:r>
              <a:rPr lang="fr-FR" sz="1200" dirty="0" err="1"/>
              <a:t>Norhene</a:t>
            </a:r>
            <a:r>
              <a:rPr lang="fr-FR" sz="1200" dirty="0"/>
              <a:t> </a:t>
            </a:r>
            <a:r>
              <a:rPr lang="fr-FR" sz="1200" dirty="0" err="1"/>
              <a:t>Chabchoub</a:t>
            </a:r>
            <a:br>
              <a:rPr lang="fr-FR" sz="1200" dirty="0"/>
            </a:br>
            <a:endParaRPr lang="fr-FR" sz="1200" dirty="0">
              <a:solidFill>
                <a:prstClr val="white"/>
              </a:solidFill>
              <a:latin typeface="Darker Grotesque" pitchFamily="2" charset="0"/>
            </a:endParaRPr>
          </a:p>
        </p:txBody>
      </p:sp>
      <p:sp>
        <p:nvSpPr>
          <p:cNvPr id="6" name="Rectangle 5">
            <a:extLst>
              <a:ext uri="{FF2B5EF4-FFF2-40B4-BE49-F238E27FC236}">
                <a16:creationId xmlns:a16="http://schemas.microsoft.com/office/drawing/2014/main" id="{3AD00FFE-099F-40D6-A204-3264BB5D673E}"/>
              </a:ext>
            </a:extLst>
          </p:cNvPr>
          <p:cNvSpPr/>
          <p:nvPr/>
        </p:nvSpPr>
        <p:spPr>
          <a:xfrm>
            <a:off x="3563314" y="3852417"/>
            <a:ext cx="4660315" cy="369332"/>
          </a:xfrm>
          <a:prstGeom prst="rect">
            <a:avLst/>
          </a:prstGeom>
        </p:spPr>
        <p:txBody>
          <a:bodyPr wrap="none">
            <a:spAutoFit/>
          </a:bodyPr>
          <a:lstStyle/>
          <a:p>
            <a:r>
              <a:rPr lang="fr-FR" i="1" dirty="0">
                <a:solidFill>
                  <a:schemeClr val="bg1"/>
                </a:solidFill>
                <a:latin typeface="Darker Grotesque SemiBold"/>
              </a:rPr>
              <a:t>Plan d’affaires pour la Création d’une Entreprise</a:t>
            </a:r>
            <a:endParaRPr lang="fr-TN" i="1" dirty="0">
              <a:solidFill>
                <a:schemeClr val="bg1"/>
              </a:solidFill>
              <a:latin typeface="Darker Grotesque SemiBold"/>
            </a:endParaRPr>
          </a:p>
        </p:txBody>
      </p:sp>
      <p:sp>
        <p:nvSpPr>
          <p:cNvPr id="7" name="Rectangle 6">
            <a:extLst>
              <a:ext uri="{FF2B5EF4-FFF2-40B4-BE49-F238E27FC236}">
                <a16:creationId xmlns:a16="http://schemas.microsoft.com/office/drawing/2014/main" id="{727AD7D9-BF4E-449C-82D7-3F219C1AF2B7}"/>
              </a:ext>
            </a:extLst>
          </p:cNvPr>
          <p:cNvSpPr/>
          <p:nvPr/>
        </p:nvSpPr>
        <p:spPr>
          <a:xfrm>
            <a:off x="3975214" y="718846"/>
            <a:ext cx="4116066" cy="369332"/>
          </a:xfrm>
          <a:prstGeom prst="rect">
            <a:avLst/>
          </a:prstGeom>
        </p:spPr>
        <p:txBody>
          <a:bodyPr wrap="square">
            <a:spAutoFit/>
          </a:bodyPr>
          <a:lstStyle/>
          <a:p>
            <a:r>
              <a:rPr lang="fr-FR" b="1" dirty="0">
                <a:solidFill>
                  <a:schemeClr val="bg1"/>
                </a:solidFill>
              </a:rPr>
              <a:t>Présentation du projet de fin d’études </a:t>
            </a:r>
            <a:endParaRPr lang="fr-TN" dirty="0">
              <a:solidFill>
                <a:schemeClr val="bg1"/>
              </a:solidFill>
            </a:endParaRPr>
          </a:p>
        </p:txBody>
      </p:sp>
      <p:sp>
        <p:nvSpPr>
          <p:cNvPr id="8" name="Rectangle 7">
            <a:extLst>
              <a:ext uri="{FF2B5EF4-FFF2-40B4-BE49-F238E27FC236}">
                <a16:creationId xmlns:a16="http://schemas.microsoft.com/office/drawing/2014/main" id="{D22AA2CB-B935-477D-8FA9-DB48D22DB163}"/>
              </a:ext>
            </a:extLst>
          </p:cNvPr>
          <p:cNvSpPr/>
          <p:nvPr/>
        </p:nvSpPr>
        <p:spPr>
          <a:xfrm>
            <a:off x="2333906" y="1210419"/>
            <a:ext cx="6779180" cy="923330"/>
          </a:xfrm>
          <a:prstGeom prst="rect">
            <a:avLst/>
          </a:prstGeom>
        </p:spPr>
        <p:txBody>
          <a:bodyPr wrap="square">
            <a:spAutoFit/>
          </a:bodyPr>
          <a:lstStyle/>
          <a:p>
            <a:r>
              <a:rPr lang="fr-FR" b="1" dirty="0">
                <a:solidFill>
                  <a:schemeClr val="bg1"/>
                </a:solidFill>
                <a:latin typeface="YAFdJt8dAY0 0"/>
              </a:rPr>
              <a:t>	                Soumis pour obtenir le diplôme de </a:t>
            </a:r>
            <a:endParaRPr lang="fr-FR" dirty="0">
              <a:solidFill>
                <a:schemeClr val="bg1"/>
              </a:solidFill>
              <a:latin typeface="YAFdJt8dAY0 0"/>
            </a:endParaRPr>
          </a:p>
          <a:p>
            <a:r>
              <a:rPr lang="fr-FR" dirty="0">
                <a:solidFill>
                  <a:schemeClr val="bg1"/>
                </a:solidFill>
                <a:latin typeface="YAFdJt8dAY0 0"/>
              </a:rPr>
              <a:t>          Licence en Business </a:t>
            </a:r>
            <a:r>
              <a:rPr lang="fr-FR" dirty="0" err="1">
                <a:solidFill>
                  <a:schemeClr val="bg1"/>
                </a:solidFill>
                <a:latin typeface="YAFdJt8dAY0 0"/>
              </a:rPr>
              <a:t>Computing</a:t>
            </a:r>
            <a:r>
              <a:rPr lang="fr-FR" dirty="0">
                <a:solidFill>
                  <a:schemeClr val="bg1"/>
                </a:solidFill>
                <a:latin typeface="YAFdJt8dAY0 0"/>
              </a:rPr>
              <a:t> en </a:t>
            </a:r>
            <a:r>
              <a:rPr lang="fr-FR" dirty="0">
                <a:solidFill>
                  <a:schemeClr val="bg1"/>
                </a:solidFill>
              </a:rPr>
              <a:t>Business Information System</a:t>
            </a:r>
          </a:p>
          <a:p>
            <a:endParaRPr lang="fr-FR" dirty="0">
              <a:solidFill>
                <a:schemeClr val="bg1"/>
              </a:solidFill>
              <a:effectLst/>
              <a:latin typeface="YAFdJt8dAY0 0"/>
            </a:endParaRPr>
          </a:p>
        </p:txBody>
      </p:sp>
    </p:spTree>
    <p:extLst>
      <p:ext uri="{BB962C8B-B14F-4D97-AF65-F5344CB8AC3E}">
        <p14:creationId xmlns:p14="http://schemas.microsoft.com/office/powerpoint/2010/main" val="28607447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up)">
                                      <p:cBhvr>
                                        <p:cTn id="7" dur="800"/>
                                        <p:tgtEl>
                                          <p:spTgt spid="29"/>
                                        </p:tgtEl>
                                      </p:cBhvr>
                                    </p:animEffect>
                                  </p:childTnLst>
                                </p:cTn>
                              </p:par>
                              <p:par>
                                <p:cTn id="8" presetID="42" presetClass="path" presetSubtype="0" decel="100000" fill="hold" grpId="1" nodeType="withEffect">
                                  <p:stCondLst>
                                    <p:cond delay="0"/>
                                  </p:stCondLst>
                                  <p:childTnLst>
                                    <p:animMotion origin="layout" path="M 0 -4.81481E-6 L 0 0.11389 " pathEditMode="relative" rAng="0" ptsTypes="AA">
                                      <p:cBhvr>
                                        <p:cTn id="9" dur="1250" spd="-100000" fill="hold"/>
                                        <p:tgtEl>
                                          <p:spTgt spid="29"/>
                                        </p:tgtEl>
                                        <p:attrNameLst>
                                          <p:attrName>ppt_x</p:attrName>
                                          <p:attrName>ppt_y</p:attrName>
                                        </p:attrNameLst>
                                      </p:cBhvr>
                                      <p:rCtr x="0" y="5694"/>
                                    </p:animMotion>
                                  </p:childTnLst>
                                </p:cTn>
                              </p:par>
                              <p:par>
                                <p:cTn id="10" presetID="22" presetClass="entr" presetSubtype="1" fill="hold" grpId="0" nodeType="with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wipe(up)">
                                      <p:cBhvr>
                                        <p:cTn id="12" dur="800"/>
                                        <p:tgtEl>
                                          <p:spTgt spid="30"/>
                                        </p:tgtEl>
                                      </p:cBhvr>
                                    </p:animEffect>
                                  </p:childTnLst>
                                </p:cTn>
                              </p:par>
                              <p:par>
                                <p:cTn id="13" presetID="42" presetClass="path" presetSubtype="0" decel="100000" fill="hold" grpId="1" nodeType="withEffect">
                                  <p:stCondLst>
                                    <p:cond delay="0"/>
                                  </p:stCondLst>
                                  <p:childTnLst>
                                    <p:animMotion origin="layout" path="M 2.29167E-6 1.48148E-6 L 2.29167E-6 0.11389 " pathEditMode="relative" rAng="0" ptsTypes="AA">
                                      <p:cBhvr>
                                        <p:cTn id="14" dur="1250" spd="-100000" fill="hold"/>
                                        <p:tgtEl>
                                          <p:spTgt spid="30"/>
                                        </p:tgtEl>
                                        <p:attrNameLst>
                                          <p:attrName>ppt_x</p:attrName>
                                          <p:attrName>ppt_y</p:attrName>
                                        </p:attrNameLst>
                                      </p:cBhvr>
                                      <p:rCtr x="0" y="5694"/>
                                    </p:animMotion>
                                  </p:childTnLst>
                                </p:cTn>
                              </p:par>
                              <p:par>
                                <p:cTn id="15" presetID="22" presetClass="entr" presetSubtype="1" fill="hold" grpId="0" nodeType="withEffect">
                                  <p:stCondLst>
                                    <p:cond delay="500"/>
                                  </p:stCondLst>
                                  <p:childTnLst>
                                    <p:set>
                                      <p:cBhvr>
                                        <p:cTn id="16" dur="1" fill="hold">
                                          <p:stCondLst>
                                            <p:cond delay="0"/>
                                          </p:stCondLst>
                                        </p:cTn>
                                        <p:tgtEl>
                                          <p:spTgt spid="33"/>
                                        </p:tgtEl>
                                        <p:attrNameLst>
                                          <p:attrName>style.visibility</p:attrName>
                                        </p:attrNameLst>
                                      </p:cBhvr>
                                      <p:to>
                                        <p:strVal val="visible"/>
                                      </p:to>
                                    </p:set>
                                    <p:animEffect transition="in" filter="wipe(up)">
                                      <p:cBhvr>
                                        <p:cTn id="17" dur="800"/>
                                        <p:tgtEl>
                                          <p:spTgt spid="33"/>
                                        </p:tgtEl>
                                      </p:cBhvr>
                                    </p:animEffect>
                                  </p:childTnLst>
                                </p:cTn>
                              </p:par>
                              <p:par>
                                <p:cTn id="18" presetID="42" presetClass="path" presetSubtype="0" decel="100000" fill="hold" grpId="1" nodeType="withEffect">
                                  <p:stCondLst>
                                    <p:cond delay="500"/>
                                  </p:stCondLst>
                                  <p:childTnLst>
                                    <p:animMotion origin="layout" path="M 2.29167E-6 1.48148E-6 L 2.29167E-6 0.11389 " pathEditMode="relative" rAng="0" ptsTypes="AA">
                                      <p:cBhvr>
                                        <p:cTn id="19" dur="1250" spd="-100000" fill="hold"/>
                                        <p:tgtEl>
                                          <p:spTgt spid="33"/>
                                        </p:tgtEl>
                                        <p:attrNameLst>
                                          <p:attrName>ppt_x</p:attrName>
                                          <p:attrName>ppt_y</p:attrName>
                                        </p:attrNameLst>
                                      </p:cBhvr>
                                      <p:rCtr x="0" y="5694"/>
                                    </p:animMotion>
                                  </p:childTnLst>
                                </p:cTn>
                              </p:par>
                              <p:par>
                                <p:cTn id="20" presetID="53" presetClass="entr" presetSubtype="16" fill="hold" nodeType="withEffect">
                                  <p:stCondLst>
                                    <p:cond delay="750"/>
                                  </p:stCondLst>
                                  <p:childTnLst>
                                    <p:set>
                                      <p:cBhvr>
                                        <p:cTn id="21" dur="1" fill="hold">
                                          <p:stCondLst>
                                            <p:cond delay="0"/>
                                          </p:stCondLst>
                                        </p:cTn>
                                        <p:tgtEl>
                                          <p:spTgt spid="102"/>
                                        </p:tgtEl>
                                        <p:attrNameLst>
                                          <p:attrName>style.visibility</p:attrName>
                                        </p:attrNameLst>
                                      </p:cBhvr>
                                      <p:to>
                                        <p:strVal val="visible"/>
                                      </p:to>
                                    </p:set>
                                    <p:anim calcmode="lin" valueType="num">
                                      <p:cBhvr>
                                        <p:cTn id="22" dur="750" fill="hold"/>
                                        <p:tgtEl>
                                          <p:spTgt spid="102"/>
                                        </p:tgtEl>
                                        <p:attrNameLst>
                                          <p:attrName>ppt_w</p:attrName>
                                        </p:attrNameLst>
                                      </p:cBhvr>
                                      <p:tavLst>
                                        <p:tav tm="0">
                                          <p:val>
                                            <p:fltVal val="0"/>
                                          </p:val>
                                        </p:tav>
                                        <p:tav tm="100000">
                                          <p:val>
                                            <p:strVal val="#ppt_w"/>
                                          </p:val>
                                        </p:tav>
                                      </p:tavLst>
                                    </p:anim>
                                    <p:anim calcmode="lin" valueType="num">
                                      <p:cBhvr>
                                        <p:cTn id="23" dur="750" fill="hold"/>
                                        <p:tgtEl>
                                          <p:spTgt spid="102"/>
                                        </p:tgtEl>
                                        <p:attrNameLst>
                                          <p:attrName>ppt_h</p:attrName>
                                        </p:attrNameLst>
                                      </p:cBhvr>
                                      <p:tavLst>
                                        <p:tav tm="0">
                                          <p:val>
                                            <p:fltVal val="0"/>
                                          </p:val>
                                        </p:tav>
                                        <p:tav tm="100000">
                                          <p:val>
                                            <p:strVal val="#ppt_h"/>
                                          </p:val>
                                        </p:tav>
                                      </p:tavLst>
                                    </p:anim>
                                    <p:animEffect transition="in" filter="fade">
                                      <p:cBhvr>
                                        <p:cTn id="24" dur="750"/>
                                        <p:tgtEl>
                                          <p:spTgt spid="102"/>
                                        </p:tgtEl>
                                      </p:cBhvr>
                                    </p:animEffect>
                                  </p:childTnLst>
                                </p:cTn>
                              </p:par>
                              <p:par>
                                <p:cTn id="25" presetID="53" presetClass="entr" presetSubtype="16" fill="hold" nodeType="withEffect">
                                  <p:stCondLst>
                                    <p:cond delay="750"/>
                                  </p:stCondLst>
                                  <p:childTnLst>
                                    <p:set>
                                      <p:cBhvr>
                                        <p:cTn id="26" dur="1" fill="hold">
                                          <p:stCondLst>
                                            <p:cond delay="0"/>
                                          </p:stCondLst>
                                        </p:cTn>
                                        <p:tgtEl>
                                          <p:spTgt spid="93"/>
                                        </p:tgtEl>
                                        <p:attrNameLst>
                                          <p:attrName>style.visibility</p:attrName>
                                        </p:attrNameLst>
                                      </p:cBhvr>
                                      <p:to>
                                        <p:strVal val="visible"/>
                                      </p:to>
                                    </p:set>
                                    <p:anim calcmode="lin" valueType="num">
                                      <p:cBhvr>
                                        <p:cTn id="27" dur="750" fill="hold"/>
                                        <p:tgtEl>
                                          <p:spTgt spid="93"/>
                                        </p:tgtEl>
                                        <p:attrNameLst>
                                          <p:attrName>ppt_w</p:attrName>
                                        </p:attrNameLst>
                                      </p:cBhvr>
                                      <p:tavLst>
                                        <p:tav tm="0">
                                          <p:val>
                                            <p:fltVal val="0"/>
                                          </p:val>
                                        </p:tav>
                                        <p:tav tm="100000">
                                          <p:val>
                                            <p:strVal val="#ppt_w"/>
                                          </p:val>
                                        </p:tav>
                                      </p:tavLst>
                                    </p:anim>
                                    <p:anim calcmode="lin" valueType="num">
                                      <p:cBhvr>
                                        <p:cTn id="28" dur="750" fill="hold"/>
                                        <p:tgtEl>
                                          <p:spTgt spid="93"/>
                                        </p:tgtEl>
                                        <p:attrNameLst>
                                          <p:attrName>ppt_h</p:attrName>
                                        </p:attrNameLst>
                                      </p:cBhvr>
                                      <p:tavLst>
                                        <p:tav tm="0">
                                          <p:val>
                                            <p:fltVal val="0"/>
                                          </p:val>
                                        </p:tav>
                                        <p:tav tm="100000">
                                          <p:val>
                                            <p:strVal val="#ppt_h"/>
                                          </p:val>
                                        </p:tav>
                                      </p:tavLst>
                                    </p:anim>
                                    <p:animEffect transition="in" filter="fade">
                                      <p:cBhvr>
                                        <p:cTn id="29" dur="750"/>
                                        <p:tgtEl>
                                          <p:spTgt spid="93"/>
                                        </p:tgtEl>
                                      </p:cBhvr>
                                    </p:animEffect>
                                  </p:childTnLst>
                                </p:cTn>
                              </p:par>
                              <p:par>
                                <p:cTn id="30" presetID="53" presetClass="entr" presetSubtype="16" fill="hold" nodeType="withEffect">
                                  <p:stCondLst>
                                    <p:cond delay="750"/>
                                  </p:stCondLst>
                                  <p:childTnLst>
                                    <p:set>
                                      <p:cBhvr>
                                        <p:cTn id="31" dur="1" fill="hold">
                                          <p:stCondLst>
                                            <p:cond delay="0"/>
                                          </p:stCondLst>
                                        </p:cTn>
                                        <p:tgtEl>
                                          <p:spTgt spid="96"/>
                                        </p:tgtEl>
                                        <p:attrNameLst>
                                          <p:attrName>style.visibility</p:attrName>
                                        </p:attrNameLst>
                                      </p:cBhvr>
                                      <p:to>
                                        <p:strVal val="visible"/>
                                      </p:to>
                                    </p:set>
                                    <p:anim calcmode="lin" valueType="num">
                                      <p:cBhvr>
                                        <p:cTn id="32" dur="750" fill="hold"/>
                                        <p:tgtEl>
                                          <p:spTgt spid="96"/>
                                        </p:tgtEl>
                                        <p:attrNameLst>
                                          <p:attrName>ppt_w</p:attrName>
                                        </p:attrNameLst>
                                      </p:cBhvr>
                                      <p:tavLst>
                                        <p:tav tm="0">
                                          <p:val>
                                            <p:fltVal val="0"/>
                                          </p:val>
                                        </p:tav>
                                        <p:tav tm="100000">
                                          <p:val>
                                            <p:strVal val="#ppt_w"/>
                                          </p:val>
                                        </p:tav>
                                      </p:tavLst>
                                    </p:anim>
                                    <p:anim calcmode="lin" valueType="num">
                                      <p:cBhvr>
                                        <p:cTn id="33" dur="750" fill="hold"/>
                                        <p:tgtEl>
                                          <p:spTgt spid="96"/>
                                        </p:tgtEl>
                                        <p:attrNameLst>
                                          <p:attrName>ppt_h</p:attrName>
                                        </p:attrNameLst>
                                      </p:cBhvr>
                                      <p:tavLst>
                                        <p:tav tm="0">
                                          <p:val>
                                            <p:fltVal val="0"/>
                                          </p:val>
                                        </p:tav>
                                        <p:tav tm="100000">
                                          <p:val>
                                            <p:strVal val="#ppt_h"/>
                                          </p:val>
                                        </p:tav>
                                      </p:tavLst>
                                    </p:anim>
                                    <p:animEffect transition="in" filter="fade">
                                      <p:cBhvr>
                                        <p:cTn id="34" dur="750"/>
                                        <p:tgtEl>
                                          <p:spTgt spid="96"/>
                                        </p:tgtEl>
                                      </p:cBhvr>
                                    </p:animEffect>
                                  </p:childTnLst>
                                </p:cTn>
                              </p:par>
                              <p:par>
                                <p:cTn id="35" presetID="53" presetClass="entr" presetSubtype="16" fill="hold" nodeType="withEffect">
                                  <p:stCondLst>
                                    <p:cond delay="750"/>
                                  </p:stCondLst>
                                  <p:childTnLst>
                                    <p:set>
                                      <p:cBhvr>
                                        <p:cTn id="36" dur="1" fill="hold">
                                          <p:stCondLst>
                                            <p:cond delay="0"/>
                                          </p:stCondLst>
                                        </p:cTn>
                                        <p:tgtEl>
                                          <p:spTgt spid="99"/>
                                        </p:tgtEl>
                                        <p:attrNameLst>
                                          <p:attrName>style.visibility</p:attrName>
                                        </p:attrNameLst>
                                      </p:cBhvr>
                                      <p:to>
                                        <p:strVal val="visible"/>
                                      </p:to>
                                    </p:set>
                                    <p:anim calcmode="lin" valueType="num">
                                      <p:cBhvr>
                                        <p:cTn id="37" dur="750" fill="hold"/>
                                        <p:tgtEl>
                                          <p:spTgt spid="99"/>
                                        </p:tgtEl>
                                        <p:attrNameLst>
                                          <p:attrName>ppt_w</p:attrName>
                                        </p:attrNameLst>
                                      </p:cBhvr>
                                      <p:tavLst>
                                        <p:tav tm="0">
                                          <p:val>
                                            <p:fltVal val="0"/>
                                          </p:val>
                                        </p:tav>
                                        <p:tav tm="100000">
                                          <p:val>
                                            <p:strVal val="#ppt_w"/>
                                          </p:val>
                                        </p:tav>
                                      </p:tavLst>
                                    </p:anim>
                                    <p:anim calcmode="lin" valueType="num">
                                      <p:cBhvr>
                                        <p:cTn id="38" dur="750" fill="hold"/>
                                        <p:tgtEl>
                                          <p:spTgt spid="99"/>
                                        </p:tgtEl>
                                        <p:attrNameLst>
                                          <p:attrName>ppt_h</p:attrName>
                                        </p:attrNameLst>
                                      </p:cBhvr>
                                      <p:tavLst>
                                        <p:tav tm="0">
                                          <p:val>
                                            <p:fltVal val="0"/>
                                          </p:val>
                                        </p:tav>
                                        <p:tav tm="100000">
                                          <p:val>
                                            <p:strVal val="#ppt_h"/>
                                          </p:val>
                                        </p:tav>
                                      </p:tavLst>
                                    </p:anim>
                                    <p:animEffect transition="in" filter="fade">
                                      <p:cBhvr>
                                        <p:cTn id="39" dur="750"/>
                                        <p:tgtEl>
                                          <p:spTgt spid="99"/>
                                        </p:tgtEl>
                                      </p:cBhvr>
                                    </p:animEffect>
                                  </p:childTnLst>
                                </p:cTn>
                              </p:par>
                              <p:par>
                                <p:cTn id="40" presetID="53" presetClass="entr" presetSubtype="16" fill="hold" nodeType="withEffect">
                                  <p:stCondLst>
                                    <p:cond delay="750"/>
                                  </p:stCondLst>
                                  <p:childTnLst>
                                    <p:set>
                                      <p:cBhvr>
                                        <p:cTn id="41" dur="1" fill="hold">
                                          <p:stCondLst>
                                            <p:cond delay="0"/>
                                          </p:stCondLst>
                                        </p:cTn>
                                        <p:tgtEl>
                                          <p:spTgt spid="111"/>
                                        </p:tgtEl>
                                        <p:attrNameLst>
                                          <p:attrName>style.visibility</p:attrName>
                                        </p:attrNameLst>
                                      </p:cBhvr>
                                      <p:to>
                                        <p:strVal val="visible"/>
                                      </p:to>
                                    </p:set>
                                    <p:anim calcmode="lin" valueType="num">
                                      <p:cBhvr>
                                        <p:cTn id="42" dur="750" fill="hold"/>
                                        <p:tgtEl>
                                          <p:spTgt spid="111"/>
                                        </p:tgtEl>
                                        <p:attrNameLst>
                                          <p:attrName>ppt_w</p:attrName>
                                        </p:attrNameLst>
                                      </p:cBhvr>
                                      <p:tavLst>
                                        <p:tav tm="0">
                                          <p:val>
                                            <p:fltVal val="0"/>
                                          </p:val>
                                        </p:tav>
                                        <p:tav tm="100000">
                                          <p:val>
                                            <p:strVal val="#ppt_w"/>
                                          </p:val>
                                        </p:tav>
                                      </p:tavLst>
                                    </p:anim>
                                    <p:anim calcmode="lin" valueType="num">
                                      <p:cBhvr>
                                        <p:cTn id="43" dur="750" fill="hold"/>
                                        <p:tgtEl>
                                          <p:spTgt spid="111"/>
                                        </p:tgtEl>
                                        <p:attrNameLst>
                                          <p:attrName>ppt_h</p:attrName>
                                        </p:attrNameLst>
                                      </p:cBhvr>
                                      <p:tavLst>
                                        <p:tav tm="0">
                                          <p:val>
                                            <p:fltVal val="0"/>
                                          </p:val>
                                        </p:tav>
                                        <p:tav tm="100000">
                                          <p:val>
                                            <p:strVal val="#ppt_h"/>
                                          </p:val>
                                        </p:tav>
                                      </p:tavLst>
                                    </p:anim>
                                    <p:animEffect transition="in" filter="fade">
                                      <p:cBhvr>
                                        <p:cTn id="44" dur="750"/>
                                        <p:tgtEl>
                                          <p:spTgt spid="111"/>
                                        </p:tgtEl>
                                      </p:cBhvr>
                                    </p:animEffect>
                                  </p:childTnLst>
                                </p:cTn>
                              </p:par>
                              <p:par>
                                <p:cTn id="45" presetID="53" presetClass="entr" presetSubtype="16" fill="hold" nodeType="withEffect">
                                  <p:stCondLst>
                                    <p:cond delay="750"/>
                                  </p:stCondLst>
                                  <p:childTnLst>
                                    <p:set>
                                      <p:cBhvr>
                                        <p:cTn id="46" dur="1" fill="hold">
                                          <p:stCondLst>
                                            <p:cond delay="0"/>
                                          </p:stCondLst>
                                        </p:cTn>
                                        <p:tgtEl>
                                          <p:spTgt spid="105"/>
                                        </p:tgtEl>
                                        <p:attrNameLst>
                                          <p:attrName>style.visibility</p:attrName>
                                        </p:attrNameLst>
                                      </p:cBhvr>
                                      <p:to>
                                        <p:strVal val="visible"/>
                                      </p:to>
                                    </p:set>
                                    <p:anim calcmode="lin" valueType="num">
                                      <p:cBhvr>
                                        <p:cTn id="47" dur="750" fill="hold"/>
                                        <p:tgtEl>
                                          <p:spTgt spid="105"/>
                                        </p:tgtEl>
                                        <p:attrNameLst>
                                          <p:attrName>ppt_w</p:attrName>
                                        </p:attrNameLst>
                                      </p:cBhvr>
                                      <p:tavLst>
                                        <p:tav tm="0">
                                          <p:val>
                                            <p:fltVal val="0"/>
                                          </p:val>
                                        </p:tav>
                                        <p:tav tm="100000">
                                          <p:val>
                                            <p:strVal val="#ppt_w"/>
                                          </p:val>
                                        </p:tav>
                                      </p:tavLst>
                                    </p:anim>
                                    <p:anim calcmode="lin" valueType="num">
                                      <p:cBhvr>
                                        <p:cTn id="48" dur="750" fill="hold"/>
                                        <p:tgtEl>
                                          <p:spTgt spid="105"/>
                                        </p:tgtEl>
                                        <p:attrNameLst>
                                          <p:attrName>ppt_h</p:attrName>
                                        </p:attrNameLst>
                                      </p:cBhvr>
                                      <p:tavLst>
                                        <p:tav tm="0">
                                          <p:val>
                                            <p:fltVal val="0"/>
                                          </p:val>
                                        </p:tav>
                                        <p:tav tm="100000">
                                          <p:val>
                                            <p:strVal val="#ppt_h"/>
                                          </p:val>
                                        </p:tav>
                                      </p:tavLst>
                                    </p:anim>
                                    <p:animEffect transition="in" filter="fade">
                                      <p:cBhvr>
                                        <p:cTn id="49" dur="750"/>
                                        <p:tgtEl>
                                          <p:spTgt spid="105"/>
                                        </p:tgtEl>
                                      </p:cBhvr>
                                    </p:animEffect>
                                  </p:childTnLst>
                                </p:cTn>
                              </p:par>
                              <p:par>
                                <p:cTn id="50" presetID="53" presetClass="entr" presetSubtype="16" fill="hold" nodeType="withEffect">
                                  <p:stCondLst>
                                    <p:cond delay="750"/>
                                  </p:stCondLst>
                                  <p:childTnLst>
                                    <p:set>
                                      <p:cBhvr>
                                        <p:cTn id="51" dur="1" fill="hold">
                                          <p:stCondLst>
                                            <p:cond delay="0"/>
                                          </p:stCondLst>
                                        </p:cTn>
                                        <p:tgtEl>
                                          <p:spTgt spid="108"/>
                                        </p:tgtEl>
                                        <p:attrNameLst>
                                          <p:attrName>style.visibility</p:attrName>
                                        </p:attrNameLst>
                                      </p:cBhvr>
                                      <p:to>
                                        <p:strVal val="visible"/>
                                      </p:to>
                                    </p:set>
                                    <p:anim calcmode="lin" valueType="num">
                                      <p:cBhvr>
                                        <p:cTn id="52" dur="750" fill="hold"/>
                                        <p:tgtEl>
                                          <p:spTgt spid="108"/>
                                        </p:tgtEl>
                                        <p:attrNameLst>
                                          <p:attrName>ppt_w</p:attrName>
                                        </p:attrNameLst>
                                      </p:cBhvr>
                                      <p:tavLst>
                                        <p:tav tm="0">
                                          <p:val>
                                            <p:fltVal val="0"/>
                                          </p:val>
                                        </p:tav>
                                        <p:tav tm="100000">
                                          <p:val>
                                            <p:strVal val="#ppt_w"/>
                                          </p:val>
                                        </p:tav>
                                      </p:tavLst>
                                    </p:anim>
                                    <p:anim calcmode="lin" valueType="num">
                                      <p:cBhvr>
                                        <p:cTn id="53" dur="750" fill="hold"/>
                                        <p:tgtEl>
                                          <p:spTgt spid="108"/>
                                        </p:tgtEl>
                                        <p:attrNameLst>
                                          <p:attrName>ppt_h</p:attrName>
                                        </p:attrNameLst>
                                      </p:cBhvr>
                                      <p:tavLst>
                                        <p:tav tm="0">
                                          <p:val>
                                            <p:fltVal val="0"/>
                                          </p:val>
                                        </p:tav>
                                        <p:tav tm="100000">
                                          <p:val>
                                            <p:strVal val="#ppt_h"/>
                                          </p:val>
                                        </p:tav>
                                      </p:tavLst>
                                    </p:anim>
                                    <p:animEffect transition="in" filter="fade">
                                      <p:cBhvr>
                                        <p:cTn id="54" dur="750"/>
                                        <p:tgtEl>
                                          <p:spTgt spid="108"/>
                                        </p:tgtEl>
                                      </p:cBhvr>
                                    </p:animEffect>
                                  </p:childTnLst>
                                </p:cTn>
                              </p:par>
                              <p:par>
                                <p:cTn id="55" presetID="53" presetClass="entr" presetSubtype="16" fill="hold" nodeType="withEffect">
                                  <p:stCondLst>
                                    <p:cond delay="750"/>
                                  </p:stCondLst>
                                  <p:childTnLst>
                                    <p:set>
                                      <p:cBhvr>
                                        <p:cTn id="56" dur="1" fill="hold">
                                          <p:stCondLst>
                                            <p:cond delay="0"/>
                                          </p:stCondLst>
                                        </p:cTn>
                                        <p:tgtEl>
                                          <p:spTgt spid="114"/>
                                        </p:tgtEl>
                                        <p:attrNameLst>
                                          <p:attrName>style.visibility</p:attrName>
                                        </p:attrNameLst>
                                      </p:cBhvr>
                                      <p:to>
                                        <p:strVal val="visible"/>
                                      </p:to>
                                    </p:set>
                                    <p:anim calcmode="lin" valueType="num">
                                      <p:cBhvr>
                                        <p:cTn id="57" dur="750" fill="hold"/>
                                        <p:tgtEl>
                                          <p:spTgt spid="114"/>
                                        </p:tgtEl>
                                        <p:attrNameLst>
                                          <p:attrName>ppt_w</p:attrName>
                                        </p:attrNameLst>
                                      </p:cBhvr>
                                      <p:tavLst>
                                        <p:tav tm="0">
                                          <p:val>
                                            <p:fltVal val="0"/>
                                          </p:val>
                                        </p:tav>
                                        <p:tav tm="100000">
                                          <p:val>
                                            <p:strVal val="#ppt_w"/>
                                          </p:val>
                                        </p:tav>
                                      </p:tavLst>
                                    </p:anim>
                                    <p:anim calcmode="lin" valueType="num">
                                      <p:cBhvr>
                                        <p:cTn id="58" dur="750" fill="hold"/>
                                        <p:tgtEl>
                                          <p:spTgt spid="114"/>
                                        </p:tgtEl>
                                        <p:attrNameLst>
                                          <p:attrName>ppt_h</p:attrName>
                                        </p:attrNameLst>
                                      </p:cBhvr>
                                      <p:tavLst>
                                        <p:tav tm="0">
                                          <p:val>
                                            <p:fltVal val="0"/>
                                          </p:val>
                                        </p:tav>
                                        <p:tav tm="100000">
                                          <p:val>
                                            <p:strVal val="#ppt_h"/>
                                          </p:val>
                                        </p:tav>
                                      </p:tavLst>
                                    </p:anim>
                                    <p:animEffect transition="in" filter="fade">
                                      <p:cBhvr>
                                        <p:cTn id="59" dur="750"/>
                                        <p:tgtEl>
                                          <p:spTgt spid="114"/>
                                        </p:tgtEl>
                                      </p:cBhvr>
                                    </p:animEffect>
                                  </p:childTnLst>
                                </p:cTn>
                              </p:par>
                              <p:par>
                                <p:cTn id="60" presetID="53" presetClass="entr" presetSubtype="16" fill="hold" nodeType="withEffect">
                                  <p:stCondLst>
                                    <p:cond delay="750"/>
                                  </p:stCondLst>
                                  <p:childTnLst>
                                    <p:set>
                                      <p:cBhvr>
                                        <p:cTn id="61" dur="1" fill="hold">
                                          <p:stCondLst>
                                            <p:cond delay="0"/>
                                          </p:stCondLst>
                                        </p:cTn>
                                        <p:tgtEl>
                                          <p:spTgt spid="117"/>
                                        </p:tgtEl>
                                        <p:attrNameLst>
                                          <p:attrName>style.visibility</p:attrName>
                                        </p:attrNameLst>
                                      </p:cBhvr>
                                      <p:to>
                                        <p:strVal val="visible"/>
                                      </p:to>
                                    </p:set>
                                    <p:anim calcmode="lin" valueType="num">
                                      <p:cBhvr>
                                        <p:cTn id="62" dur="750" fill="hold"/>
                                        <p:tgtEl>
                                          <p:spTgt spid="117"/>
                                        </p:tgtEl>
                                        <p:attrNameLst>
                                          <p:attrName>ppt_w</p:attrName>
                                        </p:attrNameLst>
                                      </p:cBhvr>
                                      <p:tavLst>
                                        <p:tav tm="0">
                                          <p:val>
                                            <p:fltVal val="0"/>
                                          </p:val>
                                        </p:tav>
                                        <p:tav tm="100000">
                                          <p:val>
                                            <p:strVal val="#ppt_w"/>
                                          </p:val>
                                        </p:tav>
                                      </p:tavLst>
                                    </p:anim>
                                    <p:anim calcmode="lin" valueType="num">
                                      <p:cBhvr>
                                        <p:cTn id="63" dur="750" fill="hold"/>
                                        <p:tgtEl>
                                          <p:spTgt spid="117"/>
                                        </p:tgtEl>
                                        <p:attrNameLst>
                                          <p:attrName>ppt_h</p:attrName>
                                        </p:attrNameLst>
                                      </p:cBhvr>
                                      <p:tavLst>
                                        <p:tav tm="0">
                                          <p:val>
                                            <p:fltVal val="0"/>
                                          </p:val>
                                        </p:tav>
                                        <p:tav tm="100000">
                                          <p:val>
                                            <p:strVal val="#ppt_h"/>
                                          </p:val>
                                        </p:tav>
                                      </p:tavLst>
                                    </p:anim>
                                    <p:animEffect transition="in" filter="fade">
                                      <p:cBhvr>
                                        <p:cTn id="64" dur="750"/>
                                        <p:tgtEl>
                                          <p:spTgt spid="117"/>
                                        </p:tgtEl>
                                      </p:cBhvr>
                                    </p:animEffect>
                                  </p:childTnLst>
                                </p:cTn>
                              </p:par>
                              <p:par>
                                <p:cTn id="65" presetID="53" presetClass="entr" presetSubtype="16" fill="hold" grpId="0" nodeType="withEffect">
                                  <p:stCondLst>
                                    <p:cond delay="750"/>
                                  </p:stCondLst>
                                  <p:childTnLst>
                                    <p:set>
                                      <p:cBhvr>
                                        <p:cTn id="66" dur="1" fill="hold">
                                          <p:stCondLst>
                                            <p:cond delay="0"/>
                                          </p:stCondLst>
                                        </p:cTn>
                                        <p:tgtEl>
                                          <p:spTgt spid="92"/>
                                        </p:tgtEl>
                                        <p:attrNameLst>
                                          <p:attrName>style.visibility</p:attrName>
                                        </p:attrNameLst>
                                      </p:cBhvr>
                                      <p:to>
                                        <p:strVal val="visible"/>
                                      </p:to>
                                    </p:set>
                                    <p:anim calcmode="lin" valueType="num">
                                      <p:cBhvr>
                                        <p:cTn id="67" dur="750" fill="hold"/>
                                        <p:tgtEl>
                                          <p:spTgt spid="92"/>
                                        </p:tgtEl>
                                        <p:attrNameLst>
                                          <p:attrName>ppt_w</p:attrName>
                                        </p:attrNameLst>
                                      </p:cBhvr>
                                      <p:tavLst>
                                        <p:tav tm="0">
                                          <p:val>
                                            <p:fltVal val="0"/>
                                          </p:val>
                                        </p:tav>
                                        <p:tav tm="100000">
                                          <p:val>
                                            <p:strVal val="#ppt_w"/>
                                          </p:val>
                                        </p:tav>
                                      </p:tavLst>
                                    </p:anim>
                                    <p:anim calcmode="lin" valueType="num">
                                      <p:cBhvr>
                                        <p:cTn id="68" dur="750" fill="hold"/>
                                        <p:tgtEl>
                                          <p:spTgt spid="92"/>
                                        </p:tgtEl>
                                        <p:attrNameLst>
                                          <p:attrName>ppt_h</p:attrName>
                                        </p:attrNameLst>
                                      </p:cBhvr>
                                      <p:tavLst>
                                        <p:tav tm="0">
                                          <p:val>
                                            <p:fltVal val="0"/>
                                          </p:val>
                                        </p:tav>
                                        <p:tav tm="100000">
                                          <p:val>
                                            <p:strVal val="#ppt_h"/>
                                          </p:val>
                                        </p:tav>
                                      </p:tavLst>
                                    </p:anim>
                                    <p:animEffect transition="in" filter="fade">
                                      <p:cBhvr>
                                        <p:cTn id="69" dur="750"/>
                                        <p:tgtEl>
                                          <p:spTgt spid="92"/>
                                        </p:tgtEl>
                                      </p:cBhvr>
                                    </p:animEffect>
                                  </p:childTnLst>
                                </p:cTn>
                              </p:par>
                              <p:par>
                                <p:cTn id="70" presetID="53" presetClass="entr" presetSubtype="16" fill="hold" grpId="0" nodeType="withEffect">
                                  <p:stCondLst>
                                    <p:cond delay="750"/>
                                  </p:stCondLst>
                                  <p:childTnLst>
                                    <p:set>
                                      <p:cBhvr>
                                        <p:cTn id="71" dur="1" fill="hold">
                                          <p:stCondLst>
                                            <p:cond delay="0"/>
                                          </p:stCondLst>
                                        </p:cTn>
                                        <p:tgtEl>
                                          <p:spTgt spid="2"/>
                                        </p:tgtEl>
                                        <p:attrNameLst>
                                          <p:attrName>style.visibility</p:attrName>
                                        </p:attrNameLst>
                                      </p:cBhvr>
                                      <p:to>
                                        <p:strVal val="visible"/>
                                      </p:to>
                                    </p:set>
                                    <p:anim calcmode="lin" valueType="num">
                                      <p:cBhvr>
                                        <p:cTn id="72" dur="750" fill="hold"/>
                                        <p:tgtEl>
                                          <p:spTgt spid="2"/>
                                        </p:tgtEl>
                                        <p:attrNameLst>
                                          <p:attrName>ppt_w</p:attrName>
                                        </p:attrNameLst>
                                      </p:cBhvr>
                                      <p:tavLst>
                                        <p:tav tm="0">
                                          <p:val>
                                            <p:fltVal val="0"/>
                                          </p:val>
                                        </p:tav>
                                        <p:tav tm="100000">
                                          <p:val>
                                            <p:strVal val="#ppt_w"/>
                                          </p:val>
                                        </p:tav>
                                      </p:tavLst>
                                    </p:anim>
                                    <p:anim calcmode="lin" valueType="num">
                                      <p:cBhvr>
                                        <p:cTn id="73" dur="750" fill="hold"/>
                                        <p:tgtEl>
                                          <p:spTgt spid="2"/>
                                        </p:tgtEl>
                                        <p:attrNameLst>
                                          <p:attrName>ppt_h</p:attrName>
                                        </p:attrNameLst>
                                      </p:cBhvr>
                                      <p:tavLst>
                                        <p:tav tm="0">
                                          <p:val>
                                            <p:fltVal val="0"/>
                                          </p:val>
                                        </p:tav>
                                        <p:tav tm="100000">
                                          <p:val>
                                            <p:strVal val="#ppt_h"/>
                                          </p:val>
                                        </p:tav>
                                      </p:tavLst>
                                    </p:anim>
                                    <p:animEffect transition="in" filter="fade">
                                      <p:cBhvr>
                                        <p:cTn id="74" dur="750"/>
                                        <p:tgtEl>
                                          <p:spTgt spid="2"/>
                                        </p:tgtEl>
                                      </p:cBhvr>
                                    </p:animEffect>
                                  </p:childTnLst>
                                </p:cTn>
                              </p:par>
                              <p:par>
                                <p:cTn id="75" presetID="53" presetClass="entr" presetSubtype="16" fill="hold" grpId="0" nodeType="withEffect">
                                  <p:stCondLst>
                                    <p:cond delay="750"/>
                                  </p:stCondLst>
                                  <p:childTnLst>
                                    <p:set>
                                      <p:cBhvr>
                                        <p:cTn id="76" dur="1" fill="hold">
                                          <p:stCondLst>
                                            <p:cond delay="0"/>
                                          </p:stCondLst>
                                        </p:cTn>
                                        <p:tgtEl>
                                          <p:spTgt spid="4"/>
                                        </p:tgtEl>
                                        <p:attrNameLst>
                                          <p:attrName>style.visibility</p:attrName>
                                        </p:attrNameLst>
                                      </p:cBhvr>
                                      <p:to>
                                        <p:strVal val="visible"/>
                                      </p:to>
                                    </p:set>
                                    <p:anim calcmode="lin" valueType="num">
                                      <p:cBhvr>
                                        <p:cTn id="77" dur="750" fill="hold"/>
                                        <p:tgtEl>
                                          <p:spTgt spid="4"/>
                                        </p:tgtEl>
                                        <p:attrNameLst>
                                          <p:attrName>ppt_w</p:attrName>
                                        </p:attrNameLst>
                                      </p:cBhvr>
                                      <p:tavLst>
                                        <p:tav tm="0">
                                          <p:val>
                                            <p:fltVal val="0"/>
                                          </p:val>
                                        </p:tav>
                                        <p:tav tm="100000">
                                          <p:val>
                                            <p:strVal val="#ppt_w"/>
                                          </p:val>
                                        </p:tav>
                                      </p:tavLst>
                                    </p:anim>
                                    <p:anim calcmode="lin" valueType="num">
                                      <p:cBhvr>
                                        <p:cTn id="78" dur="750" fill="hold"/>
                                        <p:tgtEl>
                                          <p:spTgt spid="4"/>
                                        </p:tgtEl>
                                        <p:attrNameLst>
                                          <p:attrName>ppt_h</p:attrName>
                                        </p:attrNameLst>
                                      </p:cBhvr>
                                      <p:tavLst>
                                        <p:tav tm="0">
                                          <p:val>
                                            <p:fltVal val="0"/>
                                          </p:val>
                                        </p:tav>
                                        <p:tav tm="100000">
                                          <p:val>
                                            <p:strVal val="#ppt_h"/>
                                          </p:val>
                                        </p:tav>
                                      </p:tavLst>
                                    </p:anim>
                                    <p:animEffect transition="in" filter="fade">
                                      <p:cBhvr>
                                        <p:cTn id="79" dur="750"/>
                                        <p:tgtEl>
                                          <p:spTgt spid="4"/>
                                        </p:tgtEl>
                                      </p:cBhvr>
                                    </p:animEffect>
                                  </p:childTnLst>
                                </p:cTn>
                              </p:par>
                              <p:par>
                                <p:cTn id="80" presetID="53" presetClass="entr" presetSubtype="16" fill="hold" grpId="0" nodeType="withEffect">
                                  <p:stCondLst>
                                    <p:cond delay="750"/>
                                  </p:stCondLst>
                                  <p:childTnLst>
                                    <p:set>
                                      <p:cBhvr>
                                        <p:cTn id="81" dur="1" fill="hold">
                                          <p:stCondLst>
                                            <p:cond delay="0"/>
                                          </p:stCondLst>
                                        </p:cTn>
                                        <p:tgtEl>
                                          <p:spTgt spid="3"/>
                                        </p:tgtEl>
                                        <p:attrNameLst>
                                          <p:attrName>style.visibility</p:attrName>
                                        </p:attrNameLst>
                                      </p:cBhvr>
                                      <p:to>
                                        <p:strVal val="visible"/>
                                      </p:to>
                                    </p:set>
                                    <p:anim calcmode="lin" valueType="num">
                                      <p:cBhvr>
                                        <p:cTn id="82" dur="750" fill="hold"/>
                                        <p:tgtEl>
                                          <p:spTgt spid="3"/>
                                        </p:tgtEl>
                                        <p:attrNameLst>
                                          <p:attrName>ppt_w</p:attrName>
                                        </p:attrNameLst>
                                      </p:cBhvr>
                                      <p:tavLst>
                                        <p:tav tm="0">
                                          <p:val>
                                            <p:fltVal val="0"/>
                                          </p:val>
                                        </p:tav>
                                        <p:tav tm="100000">
                                          <p:val>
                                            <p:strVal val="#ppt_w"/>
                                          </p:val>
                                        </p:tav>
                                      </p:tavLst>
                                    </p:anim>
                                    <p:anim calcmode="lin" valueType="num">
                                      <p:cBhvr>
                                        <p:cTn id="83" dur="750" fill="hold"/>
                                        <p:tgtEl>
                                          <p:spTgt spid="3"/>
                                        </p:tgtEl>
                                        <p:attrNameLst>
                                          <p:attrName>ppt_h</p:attrName>
                                        </p:attrNameLst>
                                      </p:cBhvr>
                                      <p:tavLst>
                                        <p:tav tm="0">
                                          <p:val>
                                            <p:fltVal val="0"/>
                                          </p:val>
                                        </p:tav>
                                        <p:tav tm="100000">
                                          <p:val>
                                            <p:strVal val="#ppt_h"/>
                                          </p:val>
                                        </p:tav>
                                      </p:tavLst>
                                    </p:anim>
                                    <p:animEffect transition="in" filter="fade">
                                      <p:cBhvr>
                                        <p:cTn id="84" dur="750"/>
                                        <p:tgtEl>
                                          <p:spTgt spid="3"/>
                                        </p:tgtEl>
                                      </p:cBhvr>
                                    </p:animEffect>
                                  </p:childTnLst>
                                </p:cTn>
                              </p:par>
                              <p:par>
                                <p:cTn id="85" presetID="8" presetClass="emph" presetSubtype="0" decel="100000" fill="hold" nodeType="withEffect">
                                  <p:stCondLst>
                                    <p:cond delay="750"/>
                                  </p:stCondLst>
                                  <p:childTnLst>
                                    <p:animRot by="21600000">
                                      <p:cBhvr>
                                        <p:cTn id="86" dur="1500" fill="hold"/>
                                        <p:tgtEl>
                                          <p:spTgt spid="102"/>
                                        </p:tgtEl>
                                        <p:attrNameLst>
                                          <p:attrName>r</p:attrName>
                                        </p:attrNameLst>
                                      </p:cBhvr>
                                    </p:animRot>
                                  </p:childTnLst>
                                </p:cTn>
                              </p:par>
                              <p:par>
                                <p:cTn id="87" presetID="8" presetClass="emph" presetSubtype="0" decel="100000" fill="hold" nodeType="withEffect">
                                  <p:stCondLst>
                                    <p:cond delay="750"/>
                                  </p:stCondLst>
                                  <p:childTnLst>
                                    <p:animRot by="21600000">
                                      <p:cBhvr>
                                        <p:cTn id="88" dur="1500" fill="hold"/>
                                        <p:tgtEl>
                                          <p:spTgt spid="93"/>
                                        </p:tgtEl>
                                        <p:attrNameLst>
                                          <p:attrName>r</p:attrName>
                                        </p:attrNameLst>
                                      </p:cBhvr>
                                    </p:animRot>
                                  </p:childTnLst>
                                </p:cTn>
                              </p:par>
                              <p:par>
                                <p:cTn id="89" presetID="8" presetClass="emph" presetSubtype="0" decel="100000" fill="hold" nodeType="withEffect">
                                  <p:stCondLst>
                                    <p:cond delay="750"/>
                                  </p:stCondLst>
                                  <p:childTnLst>
                                    <p:animRot by="21600000">
                                      <p:cBhvr>
                                        <p:cTn id="90" dur="1500" fill="hold"/>
                                        <p:tgtEl>
                                          <p:spTgt spid="96"/>
                                        </p:tgtEl>
                                        <p:attrNameLst>
                                          <p:attrName>r</p:attrName>
                                        </p:attrNameLst>
                                      </p:cBhvr>
                                    </p:animRot>
                                  </p:childTnLst>
                                </p:cTn>
                              </p:par>
                              <p:par>
                                <p:cTn id="91" presetID="8" presetClass="emph" presetSubtype="0" decel="100000" fill="hold" nodeType="withEffect">
                                  <p:stCondLst>
                                    <p:cond delay="750"/>
                                  </p:stCondLst>
                                  <p:childTnLst>
                                    <p:animRot by="21600000">
                                      <p:cBhvr>
                                        <p:cTn id="92" dur="1500" fill="hold"/>
                                        <p:tgtEl>
                                          <p:spTgt spid="99"/>
                                        </p:tgtEl>
                                        <p:attrNameLst>
                                          <p:attrName>r</p:attrName>
                                        </p:attrNameLst>
                                      </p:cBhvr>
                                    </p:animRot>
                                  </p:childTnLst>
                                </p:cTn>
                              </p:par>
                              <p:par>
                                <p:cTn id="93" presetID="8" presetClass="emph" presetSubtype="0" decel="100000" fill="hold" nodeType="withEffect">
                                  <p:stCondLst>
                                    <p:cond delay="750"/>
                                  </p:stCondLst>
                                  <p:childTnLst>
                                    <p:animRot by="21600000">
                                      <p:cBhvr>
                                        <p:cTn id="94" dur="1500" fill="hold"/>
                                        <p:tgtEl>
                                          <p:spTgt spid="111"/>
                                        </p:tgtEl>
                                        <p:attrNameLst>
                                          <p:attrName>r</p:attrName>
                                        </p:attrNameLst>
                                      </p:cBhvr>
                                    </p:animRot>
                                  </p:childTnLst>
                                </p:cTn>
                              </p:par>
                              <p:par>
                                <p:cTn id="95" presetID="8" presetClass="emph" presetSubtype="0" decel="100000" fill="hold" nodeType="withEffect">
                                  <p:stCondLst>
                                    <p:cond delay="750"/>
                                  </p:stCondLst>
                                  <p:childTnLst>
                                    <p:animRot by="21600000">
                                      <p:cBhvr>
                                        <p:cTn id="96" dur="1500" fill="hold"/>
                                        <p:tgtEl>
                                          <p:spTgt spid="105"/>
                                        </p:tgtEl>
                                        <p:attrNameLst>
                                          <p:attrName>r</p:attrName>
                                        </p:attrNameLst>
                                      </p:cBhvr>
                                    </p:animRot>
                                  </p:childTnLst>
                                </p:cTn>
                              </p:par>
                              <p:par>
                                <p:cTn id="97" presetID="8" presetClass="emph" presetSubtype="0" decel="100000" fill="hold" nodeType="withEffect">
                                  <p:stCondLst>
                                    <p:cond delay="750"/>
                                  </p:stCondLst>
                                  <p:childTnLst>
                                    <p:animRot by="21600000">
                                      <p:cBhvr>
                                        <p:cTn id="98" dur="1500" fill="hold"/>
                                        <p:tgtEl>
                                          <p:spTgt spid="108"/>
                                        </p:tgtEl>
                                        <p:attrNameLst>
                                          <p:attrName>r</p:attrName>
                                        </p:attrNameLst>
                                      </p:cBhvr>
                                    </p:animRot>
                                  </p:childTnLst>
                                </p:cTn>
                              </p:par>
                              <p:par>
                                <p:cTn id="99" presetID="8" presetClass="emph" presetSubtype="0" decel="100000" fill="hold" nodeType="withEffect">
                                  <p:stCondLst>
                                    <p:cond delay="750"/>
                                  </p:stCondLst>
                                  <p:childTnLst>
                                    <p:animRot by="21600000">
                                      <p:cBhvr>
                                        <p:cTn id="100" dur="1500" fill="hold"/>
                                        <p:tgtEl>
                                          <p:spTgt spid="114"/>
                                        </p:tgtEl>
                                        <p:attrNameLst>
                                          <p:attrName>r</p:attrName>
                                        </p:attrNameLst>
                                      </p:cBhvr>
                                    </p:animRot>
                                  </p:childTnLst>
                                </p:cTn>
                              </p:par>
                              <p:par>
                                <p:cTn id="101" presetID="8" presetClass="emph" presetSubtype="0" decel="100000" fill="hold" nodeType="withEffect">
                                  <p:stCondLst>
                                    <p:cond delay="750"/>
                                  </p:stCondLst>
                                  <p:childTnLst>
                                    <p:animRot by="21600000">
                                      <p:cBhvr>
                                        <p:cTn id="102" dur="1500" fill="hold"/>
                                        <p:tgtEl>
                                          <p:spTgt spid="117"/>
                                        </p:tgtEl>
                                        <p:attrNameLst>
                                          <p:attrName>r</p:attrName>
                                        </p:attrNameLst>
                                      </p:cBhvr>
                                    </p:animRot>
                                  </p:childTnLst>
                                </p:cTn>
                              </p:par>
                              <p:par>
                                <p:cTn id="103" presetID="8" presetClass="emph" presetSubtype="0" decel="100000" fill="hold" grpId="1" nodeType="withEffect">
                                  <p:stCondLst>
                                    <p:cond delay="750"/>
                                  </p:stCondLst>
                                  <p:childTnLst>
                                    <p:animRot by="21600000">
                                      <p:cBhvr>
                                        <p:cTn id="104" dur="1500" fill="hold"/>
                                        <p:tgtEl>
                                          <p:spTgt spid="92"/>
                                        </p:tgtEl>
                                        <p:attrNameLst>
                                          <p:attrName>r</p:attrName>
                                        </p:attrNameLst>
                                      </p:cBhvr>
                                    </p:animRot>
                                  </p:childTnLst>
                                </p:cTn>
                              </p:par>
                              <p:par>
                                <p:cTn id="105" presetID="8" presetClass="emph" presetSubtype="0" decel="100000" fill="hold" grpId="1" nodeType="withEffect">
                                  <p:stCondLst>
                                    <p:cond delay="750"/>
                                  </p:stCondLst>
                                  <p:childTnLst>
                                    <p:animRot by="21600000">
                                      <p:cBhvr>
                                        <p:cTn id="106" dur="1500" fill="hold"/>
                                        <p:tgtEl>
                                          <p:spTgt spid="2"/>
                                        </p:tgtEl>
                                        <p:attrNameLst>
                                          <p:attrName>r</p:attrName>
                                        </p:attrNameLst>
                                      </p:cBhvr>
                                    </p:animRot>
                                  </p:childTnLst>
                                </p:cTn>
                              </p:par>
                              <p:par>
                                <p:cTn id="107" presetID="8" presetClass="emph" presetSubtype="0" decel="100000" fill="hold" grpId="1" nodeType="withEffect">
                                  <p:stCondLst>
                                    <p:cond delay="750"/>
                                  </p:stCondLst>
                                  <p:childTnLst>
                                    <p:animRot by="21600000">
                                      <p:cBhvr>
                                        <p:cTn id="108" dur="1500" fill="hold"/>
                                        <p:tgtEl>
                                          <p:spTgt spid="4"/>
                                        </p:tgtEl>
                                        <p:attrNameLst>
                                          <p:attrName>r</p:attrName>
                                        </p:attrNameLst>
                                      </p:cBhvr>
                                    </p:animRot>
                                  </p:childTnLst>
                                </p:cTn>
                              </p:par>
                              <p:par>
                                <p:cTn id="109" presetID="8" presetClass="emph" presetSubtype="0" decel="100000" fill="hold" grpId="1" nodeType="withEffect">
                                  <p:stCondLst>
                                    <p:cond delay="750"/>
                                  </p:stCondLst>
                                  <p:childTnLst>
                                    <p:animRot by="21600000">
                                      <p:cBhvr>
                                        <p:cTn id="110" dur="1500" fill="hold"/>
                                        <p:tgtEl>
                                          <p:spTgt spid="3"/>
                                        </p:tgtEl>
                                        <p:attrNameLst>
                                          <p:attrName>r</p:attrName>
                                        </p:attrNameLst>
                                      </p:cBhvr>
                                    </p:animRot>
                                  </p:childTnLst>
                                </p:cTn>
                              </p:par>
                              <p:par>
                                <p:cTn id="111" presetID="1" presetClass="entr" presetSubtype="0" fill="hold" grpId="0" nodeType="withEffect">
                                  <p:stCondLst>
                                    <p:cond delay="2250"/>
                                  </p:stCondLst>
                                  <p:childTnLst>
                                    <p:set>
                                      <p:cBhvr>
                                        <p:cTn id="112" dur="1" fill="hold">
                                          <p:stCondLst>
                                            <p:cond delay="0"/>
                                          </p:stCondLst>
                                        </p:cTn>
                                        <p:tgtEl>
                                          <p:spTgt spid="91"/>
                                        </p:tgtEl>
                                        <p:attrNameLst>
                                          <p:attrName>style.visibility</p:attrName>
                                        </p:attrNameLst>
                                      </p:cBhvr>
                                      <p:to>
                                        <p:strVal val="visible"/>
                                      </p:to>
                                    </p:set>
                                  </p:childTnLst>
                                </p:cTn>
                              </p:par>
                              <p:par>
                                <p:cTn id="113" presetID="1" presetClass="entr" presetSubtype="0" fill="hold" grpId="0" nodeType="withEffect">
                                  <p:stCondLst>
                                    <p:cond delay="2250"/>
                                  </p:stCondLst>
                                  <p:childTnLst>
                                    <p:set>
                                      <p:cBhvr>
                                        <p:cTn id="114" dur="1" fill="hold">
                                          <p:stCondLst>
                                            <p:cond delay="0"/>
                                          </p:stCondLst>
                                        </p:cTn>
                                        <p:tgtEl>
                                          <p:spTgt spid="90"/>
                                        </p:tgtEl>
                                        <p:attrNameLst>
                                          <p:attrName>style.visibility</p:attrName>
                                        </p:attrNameLst>
                                      </p:cBhvr>
                                      <p:to>
                                        <p:strVal val="visible"/>
                                      </p:to>
                                    </p:set>
                                  </p:childTnLst>
                                </p:cTn>
                              </p:par>
                              <p:par>
                                <p:cTn id="115" presetID="1" presetClass="entr" presetSubtype="0" fill="hold" grpId="0" nodeType="withEffect">
                                  <p:stCondLst>
                                    <p:cond delay="2250"/>
                                  </p:stCondLst>
                                  <p:childTnLst>
                                    <p:set>
                                      <p:cBhvr>
                                        <p:cTn id="116" dur="1" fill="hold">
                                          <p:stCondLst>
                                            <p:cond delay="0"/>
                                          </p:stCondLst>
                                        </p:cTn>
                                        <p:tgtEl>
                                          <p:spTgt spid="89"/>
                                        </p:tgtEl>
                                        <p:attrNameLst>
                                          <p:attrName>style.visibility</p:attrName>
                                        </p:attrNameLst>
                                      </p:cBhvr>
                                      <p:to>
                                        <p:strVal val="visible"/>
                                      </p:to>
                                    </p:set>
                                  </p:childTnLst>
                                </p:cTn>
                              </p:par>
                              <p:par>
                                <p:cTn id="117" presetID="1" presetClass="entr" presetSubtype="0" fill="hold" grpId="0" nodeType="withEffect">
                                  <p:stCondLst>
                                    <p:cond delay="2250"/>
                                  </p:stCondLst>
                                  <p:childTnLst>
                                    <p:set>
                                      <p:cBhvr>
                                        <p:cTn id="118" dur="1" fill="hold">
                                          <p:stCondLst>
                                            <p:cond delay="0"/>
                                          </p:stCondLst>
                                        </p:cTn>
                                        <p:tgtEl>
                                          <p:spTgt spid="88"/>
                                        </p:tgtEl>
                                        <p:attrNameLst>
                                          <p:attrName>style.visibility</p:attrName>
                                        </p:attrNameLst>
                                      </p:cBhvr>
                                      <p:to>
                                        <p:strVal val="visible"/>
                                      </p:to>
                                    </p:set>
                                  </p:childTnLst>
                                </p:cTn>
                              </p:par>
                              <p:par>
                                <p:cTn id="119" presetID="1" presetClass="entr" presetSubtype="0" fill="hold" grpId="0" nodeType="withEffect">
                                  <p:stCondLst>
                                    <p:cond delay="2250"/>
                                  </p:stCondLst>
                                  <p:childTnLst>
                                    <p:set>
                                      <p:cBhvr>
                                        <p:cTn id="120" dur="1" fill="hold">
                                          <p:stCondLst>
                                            <p:cond delay="0"/>
                                          </p:stCondLst>
                                        </p:cTn>
                                        <p:tgtEl>
                                          <p:spTgt spid="87"/>
                                        </p:tgtEl>
                                        <p:attrNameLst>
                                          <p:attrName>style.visibility</p:attrName>
                                        </p:attrNameLst>
                                      </p:cBhvr>
                                      <p:to>
                                        <p:strVal val="visible"/>
                                      </p:to>
                                    </p:set>
                                  </p:childTnLst>
                                </p:cTn>
                              </p:par>
                              <p:par>
                                <p:cTn id="121" presetID="1" presetClass="entr" presetSubtype="0" fill="hold" grpId="0" nodeType="withEffect">
                                  <p:stCondLst>
                                    <p:cond delay="2250"/>
                                  </p:stCondLst>
                                  <p:childTnLst>
                                    <p:set>
                                      <p:cBhvr>
                                        <p:cTn id="122" dur="1" fill="hold">
                                          <p:stCondLst>
                                            <p:cond delay="0"/>
                                          </p:stCondLst>
                                        </p:cTn>
                                        <p:tgtEl>
                                          <p:spTgt spid="86"/>
                                        </p:tgtEl>
                                        <p:attrNameLst>
                                          <p:attrName>style.visibility</p:attrName>
                                        </p:attrNameLst>
                                      </p:cBhvr>
                                      <p:to>
                                        <p:strVal val="visible"/>
                                      </p:to>
                                    </p:set>
                                  </p:childTnLst>
                                </p:cTn>
                              </p:par>
                              <p:par>
                                <p:cTn id="123" presetID="1" presetClass="entr" presetSubtype="0" fill="hold" grpId="0" nodeType="withEffect">
                                  <p:stCondLst>
                                    <p:cond delay="2250"/>
                                  </p:stCondLst>
                                  <p:childTnLst>
                                    <p:set>
                                      <p:cBhvr>
                                        <p:cTn id="124" dur="1" fill="hold">
                                          <p:stCondLst>
                                            <p:cond delay="0"/>
                                          </p:stCondLst>
                                        </p:cTn>
                                        <p:tgtEl>
                                          <p:spTgt spid="85"/>
                                        </p:tgtEl>
                                        <p:attrNameLst>
                                          <p:attrName>style.visibility</p:attrName>
                                        </p:attrNameLst>
                                      </p:cBhvr>
                                      <p:to>
                                        <p:strVal val="visible"/>
                                      </p:to>
                                    </p:set>
                                  </p:childTnLst>
                                </p:cTn>
                              </p:par>
                              <p:par>
                                <p:cTn id="125" presetID="1" presetClass="entr" presetSubtype="0" fill="hold" grpId="0" nodeType="withEffect">
                                  <p:stCondLst>
                                    <p:cond delay="2250"/>
                                  </p:stCondLst>
                                  <p:childTnLst>
                                    <p:set>
                                      <p:cBhvr>
                                        <p:cTn id="126" dur="1" fill="hold">
                                          <p:stCondLst>
                                            <p:cond delay="0"/>
                                          </p:stCondLst>
                                        </p:cTn>
                                        <p:tgtEl>
                                          <p:spTgt spid="84"/>
                                        </p:tgtEl>
                                        <p:attrNameLst>
                                          <p:attrName>style.visibility</p:attrName>
                                        </p:attrNameLst>
                                      </p:cBhvr>
                                      <p:to>
                                        <p:strVal val="visible"/>
                                      </p:to>
                                    </p:set>
                                  </p:childTnLst>
                                </p:cTn>
                              </p:par>
                              <p:par>
                                <p:cTn id="127" presetID="22" presetClass="entr" presetSubtype="1" fill="hold" grpId="0" nodeType="withEffect">
                                  <p:stCondLst>
                                    <p:cond delay="0"/>
                                  </p:stCondLst>
                                  <p:childTnLst>
                                    <p:set>
                                      <p:cBhvr>
                                        <p:cTn id="128" dur="1" fill="hold">
                                          <p:stCondLst>
                                            <p:cond delay="0"/>
                                          </p:stCondLst>
                                        </p:cTn>
                                        <p:tgtEl>
                                          <p:spTgt spid="60"/>
                                        </p:tgtEl>
                                        <p:attrNameLst>
                                          <p:attrName>style.visibility</p:attrName>
                                        </p:attrNameLst>
                                      </p:cBhvr>
                                      <p:to>
                                        <p:strVal val="visible"/>
                                      </p:to>
                                    </p:set>
                                    <p:animEffect transition="in" filter="wipe(up)">
                                      <p:cBhvr>
                                        <p:cTn id="129" dur="800"/>
                                        <p:tgtEl>
                                          <p:spTgt spid="60"/>
                                        </p:tgtEl>
                                      </p:cBhvr>
                                    </p:animEffect>
                                  </p:childTnLst>
                                </p:cTn>
                              </p:par>
                              <p:par>
                                <p:cTn id="130" presetID="42" presetClass="path" presetSubtype="0" decel="100000" fill="hold" grpId="1" nodeType="withEffect">
                                  <p:stCondLst>
                                    <p:cond delay="0"/>
                                  </p:stCondLst>
                                  <p:childTnLst>
                                    <p:animMotion origin="layout" path="M -2.5E-6 -4.44444E-6 L -2.5E-6 0.11389 " pathEditMode="relative" rAng="0" ptsTypes="AA">
                                      <p:cBhvr>
                                        <p:cTn id="131" dur="1250" spd="-100000" fill="hold"/>
                                        <p:tgtEl>
                                          <p:spTgt spid="60"/>
                                        </p:tgtEl>
                                        <p:attrNameLst>
                                          <p:attrName>ppt_x</p:attrName>
                                          <p:attrName>ppt_y</p:attrName>
                                        </p:attrNameLst>
                                      </p:cBhvr>
                                      <p:rCtr x="0" y="5694"/>
                                    </p:animMotion>
                                  </p:childTnLst>
                                </p:cTn>
                              </p:par>
                              <p:par>
                                <p:cTn id="132" presetID="22" presetClass="entr" presetSubtype="1" fill="hold" grpId="0" nodeType="withEffect">
                                  <p:stCondLst>
                                    <p:cond delay="500"/>
                                  </p:stCondLst>
                                  <p:childTnLst>
                                    <p:set>
                                      <p:cBhvr>
                                        <p:cTn id="133" dur="1" fill="hold">
                                          <p:stCondLst>
                                            <p:cond delay="0"/>
                                          </p:stCondLst>
                                        </p:cTn>
                                        <p:tgtEl>
                                          <p:spTgt spid="61"/>
                                        </p:tgtEl>
                                        <p:attrNameLst>
                                          <p:attrName>style.visibility</p:attrName>
                                        </p:attrNameLst>
                                      </p:cBhvr>
                                      <p:to>
                                        <p:strVal val="visible"/>
                                      </p:to>
                                    </p:set>
                                    <p:animEffect transition="in" filter="wipe(up)">
                                      <p:cBhvr>
                                        <p:cTn id="134" dur="800"/>
                                        <p:tgtEl>
                                          <p:spTgt spid="61"/>
                                        </p:tgtEl>
                                      </p:cBhvr>
                                    </p:animEffect>
                                  </p:childTnLst>
                                </p:cTn>
                              </p:par>
                              <p:par>
                                <p:cTn id="135" presetID="42" presetClass="path" presetSubtype="0" decel="100000" fill="hold" grpId="1" nodeType="withEffect">
                                  <p:stCondLst>
                                    <p:cond delay="500"/>
                                  </p:stCondLst>
                                  <p:childTnLst>
                                    <p:animMotion origin="layout" path="M -2.70833E-6 1.48148E-6 L -2.70833E-6 0.11389 " pathEditMode="relative" rAng="0" ptsTypes="AA">
                                      <p:cBhvr>
                                        <p:cTn id="136" dur="1250" spd="-100000" fill="hold"/>
                                        <p:tgtEl>
                                          <p:spTgt spid="61"/>
                                        </p:tgtEl>
                                        <p:attrNameLst>
                                          <p:attrName>ppt_x</p:attrName>
                                          <p:attrName>ppt_y</p:attrName>
                                        </p:attrNameLst>
                                      </p:cBhvr>
                                      <p:rCtr x="0" y="5694"/>
                                    </p:animMotion>
                                  </p:childTnLst>
                                </p:cTn>
                              </p:par>
                              <p:par>
                                <p:cTn id="137" presetID="22" presetClass="entr" presetSubtype="1" fill="hold" grpId="0" nodeType="withEffect">
                                  <p:stCondLst>
                                    <p:cond delay="0"/>
                                  </p:stCondLst>
                                  <p:childTnLst>
                                    <p:set>
                                      <p:cBhvr>
                                        <p:cTn id="138" dur="1" fill="hold">
                                          <p:stCondLst>
                                            <p:cond delay="0"/>
                                          </p:stCondLst>
                                        </p:cTn>
                                        <p:tgtEl>
                                          <p:spTgt spid="63"/>
                                        </p:tgtEl>
                                        <p:attrNameLst>
                                          <p:attrName>style.visibility</p:attrName>
                                        </p:attrNameLst>
                                      </p:cBhvr>
                                      <p:to>
                                        <p:strVal val="visible"/>
                                      </p:to>
                                    </p:set>
                                    <p:animEffect transition="in" filter="wipe(up)">
                                      <p:cBhvr>
                                        <p:cTn id="139" dur="800"/>
                                        <p:tgtEl>
                                          <p:spTgt spid="63"/>
                                        </p:tgtEl>
                                      </p:cBhvr>
                                    </p:animEffect>
                                  </p:childTnLst>
                                </p:cTn>
                              </p:par>
                              <p:par>
                                <p:cTn id="140" presetID="42" presetClass="path" presetSubtype="0" decel="100000" fill="hold" grpId="1" nodeType="withEffect">
                                  <p:stCondLst>
                                    <p:cond delay="0"/>
                                  </p:stCondLst>
                                  <p:childTnLst>
                                    <p:animMotion origin="layout" path="M -2.5E-6 -2.22222E-6 L -2.5E-6 0.11389 " pathEditMode="relative" rAng="0" ptsTypes="AA">
                                      <p:cBhvr>
                                        <p:cTn id="141" dur="1250" spd="-100000" fill="hold"/>
                                        <p:tgtEl>
                                          <p:spTgt spid="63"/>
                                        </p:tgtEl>
                                        <p:attrNameLst>
                                          <p:attrName>ppt_x</p:attrName>
                                          <p:attrName>ppt_y</p:attrName>
                                        </p:attrNameLst>
                                      </p:cBhvr>
                                      <p:rCtr x="0" y="5694"/>
                                    </p:animMotion>
                                  </p:childTnLst>
                                </p:cTn>
                              </p:par>
                              <p:par>
                                <p:cTn id="142" presetID="53" presetClass="entr" presetSubtype="16" fill="hold" nodeType="withEffect">
                                  <p:stCondLst>
                                    <p:cond delay="0"/>
                                  </p:stCondLst>
                                  <p:childTnLst>
                                    <p:set>
                                      <p:cBhvr>
                                        <p:cTn id="143" dur="1" fill="hold">
                                          <p:stCondLst>
                                            <p:cond delay="0"/>
                                          </p:stCondLst>
                                        </p:cTn>
                                        <p:tgtEl>
                                          <p:spTgt spid="2052"/>
                                        </p:tgtEl>
                                        <p:attrNameLst>
                                          <p:attrName>style.visibility</p:attrName>
                                        </p:attrNameLst>
                                      </p:cBhvr>
                                      <p:to>
                                        <p:strVal val="visible"/>
                                      </p:to>
                                    </p:set>
                                    <p:anim calcmode="lin" valueType="num">
                                      <p:cBhvr>
                                        <p:cTn id="144" dur="500" fill="hold"/>
                                        <p:tgtEl>
                                          <p:spTgt spid="2052"/>
                                        </p:tgtEl>
                                        <p:attrNameLst>
                                          <p:attrName>ppt_w</p:attrName>
                                        </p:attrNameLst>
                                      </p:cBhvr>
                                      <p:tavLst>
                                        <p:tav tm="0">
                                          <p:val>
                                            <p:fltVal val="0"/>
                                          </p:val>
                                        </p:tav>
                                        <p:tav tm="100000">
                                          <p:val>
                                            <p:strVal val="#ppt_w"/>
                                          </p:val>
                                        </p:tav>
                                      </p:tavLst>
                                    </p:anim>
                                    <p:anim calcmode="lin" valueType="num">
                                      <p:cBhvr>
                                        <p:cTn id="145" dur="500" fill="hold"/>
                                        <p:tgtEl>
                                          <p:spTgt spid="2052"/>
                                        </p:tgtEl>
                                        <p:attrNameLst>
                                          <p:attrName>ppt_h</p:attrName>
                                        </p:attrNameLst>
                                      </p:cBhvr>
                                      <p:tavLst>
                                        <p:tav tm="0">
                                          <p:val>
                                            <p:fltVal val="0"/>
                                          </p:val>
                                        </p:tav>
                                        <p:tav tm="100000">
                                          <p:val>
                                            <p:strVal val="#ppt_h"/>
                                          </p:val>
                                        </p:tav>
                                      </p:tavLst>
                                    </p:anim>
                                    <p:animEffect transition="in" filter="fade">
                                      <p:cBhvr>
                                        <p:cTn id="146" dur="500"/>
                                        <p:tgtEl>
                                          <p:spTgt spid="20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5" grpId="0" animBg="1"/>
      <p:bldP spid="86" grpId="0" animBg="1"/>
      <p:bldP spid="87" grpId="0" animBg="1"/>
      <p:bldP spid="88" grpId="0" animBg="1"/>
      <p:bldP spid="89" grpId="0" animBg="1"/>
      <p:bldP spid="90" grpId="0" animBg="1"/>
      <p:bldP spid="91" grpId="0" animBg="1"/>
      <p:bldP spid="92" grpId="0" animBg="1"/>
      <p:bldP spid="92" grpId="1" animBg="1"/>
      <p:bldP spid="29" grpId="0" animBg="1"/>
      <p:bldP spid="29" grpId="1" animBg="1"/>
      <p:bldP spid="33" grpId="0" animBg="1"/>
      <p:bldP spid="33" grpId="1" animBg="1"/>
      <p:bldP spid="2" grpId="0" animBg="1"/>
      <p:bldP spid="2" grpId="1" animBg="1"/>
      <p:bldP spid="3" grpId="0" animBg="1"/>
      <p:bldP spid="3" grpId="1" animBg="1"/>
      <p:bldP spid="4" grpId="0" animBg="1"/>
      <p:bldP spid="4" grpId="1" animBg="1"/>
      <p:bldP spid="30" grpId="0"/>
      <p:bldP spid="30" grpId="1"/>
      <p:bldP spid="60" grpId="0" animBg="1"/>
      <p:bldP spid="60" grpId="1" animBg="1"/>
      <p:bldP spid="61" grpId="0" animBg="1"/>
      <p:bldP spid="61" grpId="1" animBg="1"/>
      <p:bldP spid="63" grpId="0" animBg="1"/>
      <p:bldP spid="63" grpId="1"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C5C2E5-F8DF-8B67-790D-F451F038A256}"/>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86C2CE35-22C4-E058-1D19-0E3F513E664A}"/>
              </a:ext>
            </a:extLst>
          </p:cNvPr>
          <p:cNvSpPr txBox="1"/>
          <p:nvPr/>
        </p:nvSpPr>
        <p:spPr>
          <a:xfrm>
            <a:off x="299484" y="407551"/>
            <a:ext cx="437620"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ODD</a:t>
            </a:r>
          </a:p>
        </p:txBody>
      </p:sp>
      <p:sp>
        <p:nvSpPr>
          <p:cNvPr id="4" name="TextBox 3">
            <a:extLst>
              <a:ext uri="{FF2B5EF4-FFF2-40B4-BE49-F238E27FC236}">
                <a16:creationId xmlns:a16="http://schemas.microsoft.com/office/drawing/2014/main" id="{39C48367-70A5-51CB-92C9-70F9C64C65AA}"/>
              </a:ext>
            </a:extLst>
          </p:cNvPr>
          <p:cNvSpPr txBox="1"/>
          <p:nvPr/>
        </p:nvSpPr>
        <p:spPr>
          <a:xfrm>
            <a:off x="773277" y="404101"/>
            <a:ext cx="74539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lang="en-US" kern="0" dirty="0">
                <a:solidFill>
                  <a:prstClr val="white"/>
                </a:solidFill>
                <a:latin typeface="Darker Grotesque" pitchFamily="2" charset="0"/>
              </a:rPr>
              <a:t>touchés</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grpSp>
        <p:nvGrpSpPr>
          <p:cNvPr id="45" name="Group 44">
            <a:extLst>
              <a:ext uri="{FF2B5EF4-FFF2-40B4-BE49-F238E27FC236}">
                <a16:creationId xmlns:a16="http://schemas.microsoft.com/office/drawing/2014/main" id="{1A874B60-D9ED-3670-A8DA-153D8D430525}"/>
              </a:ext>
            </a:extLst>
          </p:cNvPr>
          <p:cNvGrpSpPr/>
          <p:nvPr/>
        </p:nvGrpSpPr>
        <p:grpSpPr>
          <a:xfrm>
            <a:off x="299484" y="369986"/>
            <a:ext cx="11644423" cy="507586"/>
            <a:chOff x="299484" y="369986"/>
            <a:chExt cx="11644423" cy="507586"/>
          </a:xfrm>
        </p:grpSpPr>
        <p:cxnSp>
          <p:nvCxnSpPr>
            <p:cNvPr id="10" name="Straight Connector 9">
              <a:extLst>
                <a:ext uri="{FF2B5EF4-FFF2-40B4-BE49-F238E27FC236}">
                  <a16:creationId xmlns:a16="http://schemas.microsoft.com/office/drawing/2014/main" id="{849EC4A1-D565-8C21-76F3-ED75FDC6F738}"/>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5" name="!!model">
              <a:extLst>
                <a:ext uri="{FF2B5EF4-FFF2-40B4-BE49-F238E27FC236}">
                  <a16:creationId xmlns:a16="http://schemas.microsoft.com/office/drawing/2014/main" id="{56367996-C5B3-3BA9-249E-714247733D51}"/>
                </a:ext>
              </a:extLst>
            </p:cNvPr>
            <p:cNvGrpSpPr/>
            <p:nvPr/>
          </p:nvGrpSpPr>
          <p:grpSpPr>
            <a:xfrm>
              <a:off x="5842207" y="369986"/>
              <a:ext cx="507586" cy="507586"/>
              <a:chOff x="5832785" y="1868829"/>
              <a:chExt cx="507586" cy="507586"/>
            </a:xfrm>
          </p:grpSpPr>
          <p:sp>
            <p:nvSpPr>
              <p:cNvPr id="26" name="Oval 25">
                <a:extLst>
                  <a:ext uri="{FF2B5EF4-FFF2-40B4-BE49-F238E27FC236}">
                    <a16:creationId xmlns:a16="http://schemas.microsoft.com/office/drawing/2014/main" id="{C31F43CA-639A-89F8-8950-B1F0C478645C}"/>
                  </a:ext>
                </a:extLst>
              </p:cNvPr>
              <p:cNvSpPr/>
              <p:nvPr/>
            </p:nvSpPr>
            <p:spPr>
              <a:xfrm>
                <a:off x="5832785" y="1868829"/>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7" name="Graphic 26">
                <a:extLst>
                  <a:ext uri="{FF2B5EF4-FFF2-40B4-BE49-F238E27FC236}">
                    <a16:creationId xmlns:a16="http://schemas.microsoft.com/office/drawing/2014/main" id="{81B52DF1-6F48-7A64-1F4D-5DADA3F89B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60578" y="1996622"/>
                <a:ext cx="252000" cy="252000"/>
              </a:xfrm>
              <a:prstGeom prst="rect">
                <a:avLst/>
              </a:prstGeom>
            </p:spPr>
          </p:pic>
        </p:grpSp>
      </p:grpSp>
      <p:pic>
        <p:nvPicPr>
          <p:cNvPr id="5122" name="Picture 2" descr="Objectif de développement durable no 8 des Nations unies — Wikipédia">
            <a:extLst>
              <a:ext uri="{FF2B5EF4-FFF2-40B4-BE49-F238E27FC236}">
                <a16:creationId xmlns:a16="http://schemas.microsoft.com/office/drawing/2014/main" id="{B3266639-004E-7C95-6E77-C8D99599E9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6542" y="1377386"/>
            <a:ext cx="2336158" cy="233615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Objectif de développement durable no 9 des Nations unies — Wikipédia">
            <a:extLst>
              <a:ext uri="{FF2B5EF4-FFF2-40B4-BE49-F238E27FC236}">
                <a16:creationId xmlns:a16="http://schemas.microsoft.com/office/drawing/2014/main" id="{17F211BC-21A7-B44F-0313-715BB700491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69445" y="1377387"/>
            <a:ext cx="2336158" cy="2336158"/>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Objectif de développement durable no 11 des Nations unies — Wikipédia">
            <a:extLst>
              <a:ext uri="{FF2B5EF4-FFF2-40B4-BE49-F238E27FC236}">
                <a16:creationId xmlns:a16="http://schemas.microsoft.com/office/drawing/2014/main" id="{01DD9711-6A8E-F135-50E5-CBEFFA4D4DF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40196" y="1377387"/>
            <a:ext cx="2336158" cy="2336158"/>
          </a:xfrm>
          <a:prstGeom prst="rect">
            <a:avLst/>
          </a:prstGeom>
          <a:noFill/>
          <a:extLst>
            <a:ext uri="{909E8E84-426E-40DD-AFC4-6F175D3DCCD1}">
              <a14:hiddenFill xmlns:a14="http://schemas.microsoft.com/office/drawing/2010/main">
                <a:solidFill>
                  <a:srgbClr val="FFFFFF"/>
                </a:solidFill>
              </a14:hiddenFill>
            </a:ext>
          </a:extLst>
        </p:spPr>
      </p:pic>
      <p:pic>
        <p:nvPicPr>
          <p:cNvPr id="5134" name="Picture 14" descr="12 - Consommation et productions responsables - Objectifs de Développement  Durable - Centraider">
            <a:extLst>
              <a:ext uri="{FF2B5EF4-FFF2-40B4-BE49-F238E27FC236}">
                <a16:creationId xmlns:a16="http://schemas.microsoft.com/office/drawing/2014/main" id="{5F544170-9B8D-589B-93C0-13E97BB77F2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56542" y="4312535"/>
            <a:ext cx="2336157" cy="2336157"/>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Objectif de développement durable no 13 des Nations unies — Wikipédia">
            <a:extLst>
              <a:ext uri="{FF2B5EF4-FFF2-40B4-BE49-F238E27FC236}">
                <a16:creationId xmlns:a16="http://schemas.microsoft.com/office/drawing/2014/main" id="{4B79C7DD-53A1-38E3-6EA9-BCEB4DBF605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69446" y="4312535"/>
            <a:ext cx="2336157" cy="2336157"/>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descr="Objectif de développement durable no 17 des Nations unies — Wikipédia">
            <a:extLst>
              <a:ext uri="{FF2B5EF4-FFF2-40B4-BE49-F238E27FC236}">
                <a16:creationId xmlns:a16="http://schemas.microsoft.com/office/drawing/2014/main" id="{83FF44D6-9B6E-46F9-B979-8B7FC9F3971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40196" y="4312534"/>
            <a:ext cx="2336158" cy="233615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BB801DE5-A623-4B40-9DF4-40F2C1C0BFB1}"/>
              </a:ext>
            </a:extLst>
          </p:cNvPr>
          <p:cNvSpPr/>
          <p:nvPr/>
        </p:nvSpPr>
        <p:spPr>
          <a:xfrm>
            <a:off x="11630475" y="6211669"/>
            <a:ext cx="418704" cy="646331"/>
          </a:xfrm>
          <a:prstGeom prst="rect">
            <a:avLst/>
          </a:prstGeom>
        </p:spPr>
        <p:txBody>
          <a:bodyPr wrap="none">
            <a:spAutoFit/>
          </a:bodyPr>
          <a:lstStyle/>
          <a:p>
            <a:r>
              <a:rPr lang="en-US" sz="36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4</a:t>
            </a:r>
            <a:endParaRPr lang="fr-TN" sz="3600" dirty="0"/>
          </a:p>
        </p:txBody>
      </p:sp>
    </p:spTree>
    <p:extLst>
      <p:ext uri="{BB962C8B-B14F-4D97-AF65-F5344CB8AC3E}">
        <p14:creationId xmlns:p14="http://schemas.microsoft.com/office/powerpoint/2010/main" val="40318663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a:extLst>
              <a:ext uri="{FF2B5EF4-FFF2-40B4-BE49-F238E27FC236}">
                <a16:creationId xmlns:a16="http://schemas.microsoft.com/office/drawing/2014/main" id="{4BD21AB4-0B99-8212-4C32-0B1F9CF86644}"/>
              </a:ext>
            </a:extLst>
          </p:cNvPr>
          <p:cNvSpPr txBox="1"/>
          <p:nvPr/>
        </p:nvSpPr>
        <p:spPr>
          <a:xfrm>
            <a:off x="1244818" y="404785"/>
            <a:ext cx="9867006" cy="183370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3800" b="0" i="0" u="none" strike="noStrike" kern="0" cap="none" spc="0" normalizeH="0" baseline="0" noProof="0" dirty="0">
                <a:ln>
                  <a:noFill/>
                </a:ln>
                <a:solidFill>
                  <a:prstClr val="white"/>
                </a:solidFill>
                <a:effectLst/>
                <a:uLnTx/>
                <a:uFillTx/>
                <a:latin typeface="Darker Grotesque" pitchFamily="2" charset="0"/>
              </a:rPr>
              <a:t>Etude </a:t>
            </a:r>
          </a:p>
        </p:txBody>
      </p:sp>
      <p:sp>
        <p:nvSpPr>
          <p:cNvPr id="36" name="TextBox 35">
            <a:extLst>
              <a:ext uri="{FF2B5EF4-FFF2-40B4-BE49-F238E27FC236}">
                <a16:creationId xmlns:a16="http://schemas.microsoft.com/office/drawing/2014/main" id="{4E6F5232-F3C8-2CC6-9C58-8C7B154858A3}"/>
              </a:ext>
            </a:extLst>
          </p:cNvPr>
          <p:cNvSpPr txBox="1"/>
          <p:nvPr/>
        </p:nvSpPr>
        <p:spPr>
          <a:xfrm>
            <a:off x="2561461" y="2396120"/>
            <a:ext cx="7120466" cy="183370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3800" b="0" i="0" u="none" strike="noStrike" kern="0" cap="none" spc="0" normalizeH="0" baseline="0" noProof="0" dirty="0">
                <a:ln>
                  <a:noFill/>
                </a:ln>
                <a:solidFill>
                  <a:prstClr val="white"/>
                </a:solidFill>
                <a:effectLst/>
                <a:uLnTx/>
                <a:uFillTx/>
                <a:latin typeface="Darker Grotesque" pitchFamily="2" charset="0"/>
              </a:rPr>
              <a:t>de</a:t>
            </a:r>
          </a:p>
        </p:txBody>
      </p:sp>
      <p:sp>
        <p:nvSpPr>
          <p:cNvPr id="31" name="TextBox 30">
            <a:extLst>
              <a:ext uri="{FF2B5EF4-FFF2-40B4-BE49-F238E27FC236}">
                <a16:creationId xmlns:a16="http://schemas.microsoft.com/office/drawing/2014/main" id="{7B8CBAD5-317F-4601-B222-2AEF6D4D38D9}"/>
              </a:ext>
            </a:extLst>
          </p:cNvPr>
          <p:cNvSpPr txBox="1"/>
          <p:nvPr/>
        </p:nvSpPr>
        <p:spPr>
          <a:xfrm>
            <a:off x="82321" y="4274879"/>
            <a:ext cx="12191999" cy="183370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3800" b="0" i="0" u="none" strike="noStrike" kern="0" cap="none" spc="0" normalizeH="0" baseline="0" noProof="0" dirty="0">
                <a:ln>
                  <a:noFill/>
                </a:ln>
                <a:solidFill>
                  <a:prstClr val="white"/>
                </a:solidFill>
                <a:effectLst/>
                <a:uLnTx/>
                <a:uFillTx/>
                <a:latin typeface="Darker Grotesque" pitchFamily="2" charset="0"/>
              </a:rPr>
              <a:t>Marché</a:t>
            </a:r>
          </a:p>
        </p:txBody>
      </p:sp>
    </p:spTree>
    <p:extLst>
      <p:ext uri="{BB962C8B-B14F-4D97-AF65-F5344CB8AC3E}">
        <p14:creationId xmlns:p14="http://schemas.microsoft.com/office/powerpoint/2010/main" val="1139062384"/>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Box 34">
            <a:extLst>
              <a:ext uri="{FF2B5EF4-FFF2-40B4-BE49-F238E27FC236}">
                <a16:creationId xmlns:a16="http://schemas.microsoft.com/office/drawing/2014/main" id="{A15D12A3-2893-C5F1-7621-D44C7B9A4F1A}"/>
              </a:ext>
            </a:extLst>
          </p:cNvPr>
          <p:cNvSpPr txBox="1"/>
          <p:nvPr/>
        </p:nvSpPr>
        <p:spPr>
          <a:xfrm>
            <a:off x="1219124" y="1459743"/>
            <a:ext cx="9867006" cy="1833707"/>
          </a:xfrm>
          <a:prstGeom prst="rect">
            <a:avLst/>
          </a:prstGeom>
          <a:noFill/>
        </p:spPr>
        <p:txBody>
          <a:bodyPr wrap="square" rtlCol="0">
            <a:spAutoFit/>
          </a:bodyPr>
          <a:lstStyle/>
          <a:p>
            <a:pPr lvl="0" algn="ctr">
              <a:lnSpc>
                <a:spcPct val="80000"/>
              </a:lnSpc>
              <a:defRPr/>
            </a:pPr>
            <a:r>
              <a:rPr lang="fr-FR" sz="13800" kern="0" dirty="0">
                <a:solidFill>
                  <a:prstClr val="white"/>
                </a:solidFill>
                <a:latin typeface="Darker Grotesque" pitchFamily="2" charset="0"/>
              </a:rPr>
              <a:t>ODD</a:t>
            </a:r>
            <a:endParaRPr lang="en-US" sz="13800" kern="0" dirty="0">
              <a:solidFill>
                <a:prstClr val="white"/>
              </a:solidFill>
              <a:latin typeface="Darker Grotesque" pitchFamily="2" charset="0"/>
            </a:endParaRPr>
          </a:p>
        </p:txBody>
      </p:sp>
      <p:sp>
        <p:nvSpPr>
          <p:cNvPr id="33" name="TextBox 35">
            <a:extLst>
              <a:ext uri="{FF2B5EF4-FFF2-40B4-BE49-F238E27FC236}">
                <a16:creationId xmlns:a16="http://schemas.microsoft.com/office/drawing/2014/main" id="{ABF55CDA-B0B0-60CE-E5CE-FE4BBFD537EB}"/>
              </a:ext>
            </a:extLst>
          </p:cNvPr>
          <p:cNvSpPr txBox="1"/>
          <p:nvPr/>
        </p:nvSpPr>
        <p:spPr>
          <a:xfrm>
            <a:off x="2535767" y="3451078"/>
            <a:ext cx="7120466" cy="1833707"/>
          </a:xfrm>
          <a:prstGeom prst="rect">
            <a:avLst/>
          </a:prstGeom>
          <a:noFill/>
        </p:spPr>
        <p:txBody>
          <a:bodyPr wrap="square" rtlCol="0">
            <a:spAutoFit/>
          </a:bodyPr>
          <a:lstStyle/>
          <a:p>
            <a:pPr lvl="0" algn="ctr">
              <a:lnSpc>
                <a:spcPct val="80000"/>
              </a:lnSpc>
              <a:defRPr/>
            </a:pPr>
            <a:r>
              <a:rPr lang="fr-FR" sz="13800" kern="0" dirty="0">
                <a:solidFill>
                  <a:prstClr val="white"/>
                </a:solidFill>
                <a:latin typeface="Darker Grotesque" pitchFamily="2" charset="0"/>
              </a:rPr>
              <a:t>touchés</a:t>
            </a:r>
            <a:endParaRPr lang="en-US" sz="13800" kern="0" dirty="0">
              <a:solidFill>
                <a:prstClr val="white"/>
              </a:solidFill>
              <a:latin typeface="Darker Grotesque" pitchFamily="2" charset="0"/>
            </a:endParaRPr>
          </a:p>
        </p:txBody>
      </p:sp>
    </p:spTree>
    <p:extLst>
      <p:ext uri="{BB962C8B-B14F-4D97-AF65-F5344CB8AC3E}">
        <p14:creationId xmlns:p14="http://schemas.microsoft.com/office/powerpoint/2010/main" val="2415979649"/>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59E5D95-B1A7-A10B-5EB5-A26C5A0AF493}"/>
              </a:ext>
            </a:extLst>
          </p:cNvPr>
          <p:cNvSpPr>
            <a:spLocks noGrp="1"/>
          </p:cNvSpPr>
          <p:nvPr/>
        </p:nvSpPr>
        <p:spPr>
          <a:xfrm>
            <a:off x="668980" y="409592"/>
            <a:ext cx="11353800" cy="739056"/>
          </a:xfrm>
          <a:prstGeom prst="rect">
            <a:avLst/>
          </a:prstGeom>
        </p:spPr>
        <p:txBody>
          <a:bodyPr rIns="0">
            <a:normAutofit/>
          </a:bodyPr>
          <a:lstStyle>
            <a:lvl1pPr algn="l" defTabSz="914400" rtl="0" eaLnBrk="1" latinLnBrk="0" hangingPunct="1">
              <a:lnSpc>
                <a:spcPct val="90000"/>
              </a:lnSpc>
              <a:spcBef>
                <a:spcPct val="0"/>
              </a:spcBef>
              <a:buNone/>
              <a:defRPr lang="en-US" sz="3600" b="1" kern="1200">
                <a:solidFill>
                  <a:schemeClr val="tx1"/>
                </a:solidFill>
                <a:latin typeface="Helvetica" panose="020B0500000000000000" pitchFamily="34" charset="0"/>
                <a:ea typeface="+mj-ea"/>
                <a:cs typeface="+mj-cs"/>
              </a:defRPr>
            </a:lvl1pPr>
          </a:lstStyle>
          <a:p>
            <a:endParaRPr lang="en-US" dirty="0"/>
          </a:p>
        </p:txBody>
      </p:sp>
      <p:sp>
        <p:nvSpPr>
          <p:cNvPr id="33" name="TextBox 25">
            <a:extLst>
              <a:ext uri="{FF2B5EF4-FFF2-40B4-BE49-F238E27FC236}">
                <a16:creationId xmlns:a16="http://schemas.microsoft.com/office/drawing/2014/main" id="{8C6B698B-8766-0EA8-7595-0764862ED039}"/>
              </a:ext>
            </a:extLst>
          </p:cNvPr>
          <p:cNvSpPr txBox="1"/>
          <p:nvPr/>
        </p:nvSpPr>
        <p:spPr>
          <a:xfrm>
            <a:off x="300053" y="4705296"/>
            <a:ext cx="2926080" cy="830997"/>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400" b="1" dirty="0">
                <a:solidFill>
                  <a:schemeClr val="accent4">
                    <a:lumMod val="75000"/>
                  </a:schemeClr>
                </a:solidFill>
              </a:rPr>
              <a:t>Environnement politique et </a:t>
            </a:r>
            <a:r>
              <a:rPr lang="en-US" sz="2400" b="1" dirty="0" err="1">
                <a:solidFill>
                  <a:schemeClr val="accent4">
                    <a:lumMod val="75000"/>
                  </a:schemeClr>
                </a:solidFill>
              </a:rPr>
              <a:t>légal</a:t>
            </a:r>
            <a:endParaRPr lang="en-US" sz="2400" b="1" dirty="0">
              <a:solidFill>
                <a:schemeClr val="accent4">
                  <a:lumMod val="75000"/>
                </a:schemeClr>
              </a:solidFill>
            </a:endParaRPr>
          </a:p>
        </p:txBody>
      </p:sp>
      <p:sp>
        <p:nvSpPr>
          <p:cNvPr id="31" name="TextBox 31">
            <a:extLst>
              <a:ext uri="{FF2B5EF4-FFF2-40B4-BE49-F238E27FC236}">
                <a16:creationId xmlns:a16="http://schemas.microsoft.com/office/drawing/2014/main" id="{16DAD35C-D356-4E33-BF1E-1DF162AABFD1}"/>
              </a:ext>
            </a:extLst>
          </p:cNvPr>
          <p:cNvSpPr txBox="1"/>
          <p:nvPr/>
        </p:nvSpPr>
        <p:spPr>
          <a:xfrm>
            <a:off x="329429" y="2465103"/>
            <a:ext cx="2926080" cy="830997"/>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400" b="1" noProof="1">
                <a:solidFill>
                  <a:schemeClr val="accent5">
                    <a:lumMod val="75000"/>
                  </a:schemeClr>
                </a:solidFill>
              </a:rPr>
              <a:t>Environnement Technologique</a:t>
            </a:r>
          </a:p>
        </p:txBody>
      </p:sp>
      <p:sp>
        <p:nvSpPr>
          <p:cNvPr id="6" name="Freeform: Shape 4">
            <a:extLst>
              <a:ext uri="{FF2B5EF4-FFF2-40B4-BE49-F238E27FC236}">
                <a16:creationId xmlns:a16="http://schemas.microsoft.com/office/drawing/2014/main" id="{4C9C3B09-A4AF-A70B-E4F6-13A3E414BC3B}"/>
              </a:ext>
            </a:extLst>
          </p:cNvPr>
          <p:cNvSpPr/>
          <p:nvPr/>
        </p:nvSpPr>
        <p:spPr>
          <a:xfrm>
            <a:off x="3606917" y="2019060"/>
            <a:ext cx="2315417" cy="2554081"/>
          </a:xfrm>
          <a:custGeom>
            <a:avLst/>
            <a:gdLst>
              <a:gd name="connsiteX0" fmla="*/ 0 w 2315417"/>
              <a:gd name="connsiteY0" fmla="*/ 0 h 2554081"/>
              <a:gd name="connsiteX1" fmla="*/ 2315417 w 2315417"/>
              <a:gd name="connsiteY1" fmla="*/ 1682249 h 2554081"/>
              <a:gd name="connsiteX2" fmla="*/ 1681995 w 2315417"/>
              <a:gd name="connsiteY2" fmla="*/ 2554081 h 2554081"/>
              <a:gd name="connsiteX3" fmla="*/ 1681977 w 2315417"/>
              <a:gd name="connsiteY3" fmla="*/ 2554069 h 2554081"/>
              <a:gd name="connsiteX4" fmla="*/ 222758 w 2315417"/>
              <a:gd name="connsiteY4" fmla="*/ 1493884 h 2554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5417" h="2554081">
                <a:moveTo>
                  <a:pt x="0" y="0"/>
                </a:moveTo>
                <a:lnTo>
                  <a:pt x="2315417" y="1682249"/>
                </a:lnTo>
                <a:lnTo>
                  <a:pt x="1681995" y="2554081"/>
                </a:lnTo>
                <a:lnTo>
                  <a:pt x="1681977" y="2554069"/>
                </a:lnTo>
                <a:lnTo>
                  <a:pt x="222758" y="1493884"/>
                </a:ln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 name="Freeform: Shape 6">
            <a:extLst>
              <a:ext uri="{FF2B5EF4-FFF2-40B4-BE49-F238E27FC236}">
                <a16:creationId xmlns:a16="http://schemas.microsoft.com/office/drawing/2014/main" id="{41086D46-1323-45BE-55B6-2BA274CFEDBF}"/>
              </a:ext>
            </a:extLst>
          </p:cNvPr>
          <p:cNvSpPr/>
          <p:nvPr/>
        </p:nvSpPr>
        <p:spPr>
          <a:xfrm>
            <a:off x="4709434" y="3702555"/>
            <a:ext cx="1185285" cy="870585"/>
          </a:xfrm>
          <a:custGeom>
            <a:avLst/>
            <a:gdLst>
              <a:gd name="connsiteX0" fmla="*/ 1171171 w 1185285"/>
              <a:gd name="connsiteY0" fmla="*/ 0 h 870585"/>
              <a:gd name="connsiteX1" fmla="*/ 1185285 w 1185285"/>
              <a:gd name="connsiteY1" fmla="*/ 36765 h 870585"/>
              <a:gd name="connsiteX2" fmla="*/ 579479 w 1185285"/>
              <a:gd name="connsiteY2" fmla="*/ 870585 h 870585"/>
              <a:gd name="connsiteX3" fmla="*/ 579462 w 1185285"/>
              <a:gd name="connsiteY3" fmla="*/ 870574 h 870585"/>
              <a:gd name="connsiteX4" fmla="*/ 0 w 1185285"/>
              <a:gd name="connsiteY4" fmla="*/ 449570 h 870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5285" h="870585">
                <a:moveTo>
                  <a:pt x="1171171" y="0"/>
                </a:moveTo>
                <a:lnTo>
                  <a:pt x="1185285" y="36765"/>
                </a:lnTo>
                <a:lnTo>
                  <a:pt x="579479" y="870585"/>
                </a:lnTo>
                <a:lnTo>
                  <a:pt x="579462" y="870574"/>
                </a:lnTo>
                <a:lnTo>
                  <a:pt x="0" y="449570"/>
                </a:lnTo>
                <a:close/>
              </a:path>
            </a:pathLst>
          </a:custGeom>
          <a:solidFill>
            <a:schemeClr val="tx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 name="Freeform: Shape 11">
            <a:extLst>
              <a:ext uri="{FF2B5EF4-FFF2-40B4-BE49-F238E27FC236}">
                <a16:creationId xmlns:a16="http://schemas.microsoft.com/office/drawing/2014/main" id="{4838E834-8457-9D53-25E7-7439AE326CCF}"/>
              </a:ext>
            </a:extLst>
          </p:cNvPr>
          <p:cNvSpPr/>
          <p:nvPr/>
        </p:nvSpPr>
        <p:spPr>
          <a:xfrm>
            <a:off x="3609420" y="3702004"/>
            <a:ext cx="2948840" cy="1932029"/>
          </a:xfrm>
          <a:custGeom>
            <a:avLst/>
            <a:gdLst>
              <a:gd name="connsiteX0" fmla="*/ 2315417 w 2948840"/>
              <a:gd name="connsiteY0" fmla="*/ 0 h 1932029"/>
              <a:gd name="connsiteX1" fmla="*/ 2948840 w 2948840"/>
              <a:gd name="connsiteY1" fmla="*/ 871832 h 1932029"/>
              <a:gd name="connsiteX2" fmla="*/ 2948823 w 2948840"/>
              <a:gd name="connsiteY2" fmla="*/ 871845 h 1932029"/>
              <a:gd name="connsiteX3" fmla="*/ 1489604 w 2948840"/>
              <a:gd name="connsiteY3" fmla="*/ 1932029 h 1932029"/>
              <a:gd name="connsiteX4" fmla="*/ 0 w 2948840"/>
              <a:gd name="connsiteY4" fmla="*/ 1682249 h 1932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8840" h="1932029">
                <a:moveTo>
                  <a:pt x="2315417" y="0"/>
                </a:moveTo>
                <a:lnTo>
                  <a:pt x="2948840" y="871832"/>
                </a:lnTo>
                <a:lnTo>
                  <a:pt x="2948823" y="871845"/>
                </a:lnTo>
                <a:lnTo>
                  <a:pt x="1489604" y="1932029"/>
                </a:lnTo>
                <a:lnTo>
                  <a:pt x="0" y="1682249"/>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9" name="Freeform: Shape 13">
            <a:extLst>
              <a:ext uri="{FF2B5EF4-FFF2-40B4-BE49-F238E27FC236}">
                <a16:creationId xmlns:a16="http://schemas.microsoft.com/office/drawing/2014/main" id="{40AE38F7-FB7E-8870-32AE-91D4C6805E81}"/>
              </a:ext>
            </a:extLst>
          </p:cNvPr>
          <p:cNvSpPr/>
          <p:nvPr/>
        </p:nvSpPr>
        <p:spPr>
          <a:xfrm>
            <a:off x="5880626" y="3702005"/>
            <a:ext cx="677634" cy="1315304"/>
          </a:xfrm>
          <a:custGeom>
            <a:avLst/>
            <a:gdLst>
              <a:gd name="connsiteX0" fmla="*/ 44212 w 677634"/>
              <a:gd name="connsiteY0" fmla="*/ 0 h 1315304"/>
              <a:gd name="connsiteX1" fmla="*/ 677634 w 677634"/>
              <a:gd name="connsiteY1" fmla="*/ 871831 h 1315304"/>
              <a:gd name="connsiteX2" fmla="*/ 677618 w 677634"/>
              <a:gd name="connsiteY2" fmla="*/ 871844 h 1315304"/>
              <a:gd name="connsiteX3" fmla="*/ 67249 w 677634"/>
              <a:gd name="connsiteY3" fmla="*/ 1315304 h 1315304"/>
              <a:gd name="connsiteX4" fmla="*/ 0 w 677634"/>
              <a:gd name="connsiteY4" fmla="*/ 32122 h 1315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634" h="1315304">
                <a:moveTo>
                  <a:pt x="44212" y="0"/>
                </a:moveTo>
                <a:lnTo>
                  <a:pt x="677634" y="871831"/>
                </a:lnTo>
                <a:lnTo>
                  <a:pt x="677618" y="871844"/>
                </a:lnTo>
                <a:lnTo>
                  <a:pt x="67249" y="1315304"/>
                </a:lnTo>
                <a:lnTo>
                  <a:pt x="0" y="32122"/>
                </a:lnTo>
                <a:close/>
              </a:path>
            </a:pathLst>
          </a:custGeom>
          <a:solidFill>
            <a:schemeClr val="tx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 name="Freeform: Shape 15">
            <a:extLst>
              <a:ext uri="{FF2B5EF4-FFF2-40B4-BE49-F238E27FC236}">
                <a16:creationId xmlns:a16="http://schemas.microsoft.com/office/drawing/2014/main" id="{8635A32A-4C26-5906-1042-D39965576F38}"/>
              </a:ext>
            </a:extLst>
          </p:cNvPr>
          <p:cNvSpPr/>
          <p:nvPr/>
        </p:nvSpPr>
        <p:spPr>
          <a:xfrm>
            <a:off x="5922335" y="3366567"/>
            <a:ext cx="1582279" cy="3054946"/>
          </a:xfrm>
          <a:custGeom>
            <a:avLst/>
            <a:gdLst>
              <a:gd name="connsiteX0" fmla="*/ 1024899 w 1582279"/>
              <a:gd name="connsiteY0" fmla="*/ 0 h 3054946"/>
              <a:gd name="connsiteX1" fmla="*/ 1024907 w 1582279"/>
              <a:gd name="connsiteY1" fmla="*/ 20 h 3054946"/>
              <a:gd name="connsiteX2" fmla="*/ 1582279 w 1582279"/>
              <a:gd name="connsiteY2" fmla="*/ 1715434 h 3054946"/>
              <a:gd name="connsiteX3" fmla="*/ 884410 w 1582279"/>
              <a:gd name="connsiteY3" fmla="*/ 3054946 h 3054946"/>
              <a:gd name="connsiteX4" fmla="*/ 0 w 1582279"/>
              <a:gd name="connsiteY4" fmla="*/ 333010 h 3054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2279" h="3054946">
                <a:moveTo>
                  <a:pt x="1024899" y="0"/>
                </a:moveTo>
                <a:lnTo>
                  <a:pt x="1024907" y="20"/>
                </a:lnTo>
                <a:lnTo>
                  <a:pt x="1582279" y="1715434"/>
                </a:lnTo>
                <a:lnTo>
                  <a:pt x="884410" y="3054946"/>
                </a:lnTo>
                <a:lnTo>
                  <a:pt x="0" y="33301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 name="Freeform: Shape 17">
            <a:extLst>
              <a:ext uri="{FF2B5EF4-FFF2-40B4-BE49-F238E27FC236}">
                <a16:creationId xmlns:a16="http://schemas.microsoft.com/office/drawing/2014/main" id="{7B5C238D-6B8B-AD0F-2BEF-4AB07770A636}"/>
              </a:ext>
            </a:extLst>
          </p:cNvPr>
          <p:cNvSpPr/>
          <p:nvPr/>
        </p:nvSpPr>
        <p:spPr>
          <a:xfrm>
            <a:off x="5922335" y="3366566"/>
            <a:ext cx="1246199" cy="681088"/>
          </a:xfrm>
          <a:custGeom>
            <a:avLst/>
            <a:gdLst>
              <a:gd name="connsiteX0" fmla="*/ 1024899 w 1246199"/>
              <a:gd name="connsiteY0" fmla="*/ 0 h 681088"/>
              <a:gd name="connsiteX1" fmla="*/ 1024907 w 1246199"/>
              <a:gd name="connsiteY1" fmla="*/ 20 h 681088"/>
              <a:gd name="connsiteX2" fmla="*/ 1246199 w 1246199"/>
              <a:gd name="connsiteY2" fmla="*/ 681088 h 681088"/>
              <a:gd name="connsiteX3" fmla="*/ 5039 w 1246199"/>
              <a:gd name="connsiteY3" fmla="*/ 348520 h 681088"/>
              <a:gd name="connsiteX4" fmla="*/ 0 w 1246199"/>
              <a:gd name="connsiteY4" fmla="*/ 333010 h 681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6199" h="681088">
                <a:moveTo>
                  <a:pt x="1024899" y="0"/>
                </a:moveTo>
                <a:lnTo>
                  <a:pt x="1024907" y="20"/>
                </a:lnTo>
                <a:lnTo>
                  <a:pt x="1246199" y="681088"/>
                </a:lnTo>
                <a:lnTo>
                  <a:pt x="5039" y="348520"/>
                </a:lnTo>
                <a:lnTo>
                  <a:pt x="0" y="333010"/>
                </a:lnTo>
                <a:close/>
              </a:path>
            </a:pathLst>
          </a:custGeom>
          <a:solidFill>
            <a:schemeClr val="tx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2" name="Freeform: Shape 19">
            <a:extLst>
              <a:ext uri="{FF2B5EF4-FFF2-40B4-BE49-F238E27FC236}">
                <a16:creationId xmlns:a16="http://schemas.microsoft.com/office/drawing/2014/main" id="{204A7BC0-2E9C-D8DD-A115-231FECFCC322}"/>
              </a:ext>
            </a:extLst>
          </p:cNvPr>
          <p:cNvSpPr/>
          <p:nvPr/>
        </p:nvSpPr>
        <p:spPr>
          <a:xfrm>
            <a:off x="5922334" y="2624360"/>
            <a:ext cx="2862012" cy="1077644"/>
          </a:xfrm>
          <a:custGeom>
            <a:avLst/>
            <a:gdLst>
              <a:gd name="connsiteX0" fmla="*/ 21 w 2862012"/>
              <a:gd name="connsiteY0" fmla="*/ 0 h 1077644"/>
              <a:gd name="connsiteX1" fmla="*/ 1803715 w 2862012"/>
              <a:gd name="connsiteY1" fmla="*/ 0 h 1077644"/>
              <a:gd name="connsiteX2" fmla="*/ 2862012 w 2862012"/>
              <a:gd name="connsiteY2" fmla="*/ 1077644 h 1077644"/>
              <a:gd name="connsiteX3" fmla="*/ 0 w 2862012"/>
              <a:gd name="connsiteY3" fmla="*/ 1077644 h 1077644"/>
              <a:gd name="connsiteX4" fmla="*/ 0 w 2862012"/>
              <a:gd name="connsiteY4" fmla="*/ 1 h 107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2012" h="1077644">
                <a:moveTo>
                  <a:pt x="21" y="0"/>
                </a:moveTo>
                <a:lnTo>
                  <a:pt x="1803715" y="0"/>
                </a:lnTo>
                <a:lnTo>
                  <a:pt x="2862012" y="1077644"/>
                </a:lnTo>
                <a:lnTo>
                  <a:pt x="0" y="1077644"/>
                </a:lnTo>
                <a:lnTo>
                  <a:pt x="0" y="1"/>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 name="Freeform: Shape 20">
            <a:extLst>
              <a:ext uri="{FF2B5EF4-FFF2-40B4-BE49-F238E27FC236}">
                <a16:creationId xmlns:a16="http://schemas.microsoft.com/office/drawing/2014/main" id="{BECCF6DC-142C-7C83-E284-7B64ABD8CA53}"/>
              </a:ext>
            </a:extLst>
          </p:cNvPr>
          <p:cNvSpPr/>
          <p:nvPr/>
        </p:nvSpPr>
        <p:spPr>
          <a:xfrm>
            <a:off x="5922335" y="2624360"/>
            <a:ext cx="657023" cy="1011727"/>
          </a:xfrm>
          <a:custGeom>
            <a:avLst/>
            <a:gdLst>
              <a:gd name="connsiteX0" fmla="*/ 21 w 657023"/>
              <a:gd name="connsiteY0" fmla="*/ 0 h 1011727"/>
              <a:gd name="connsiteX1" fmla="*/ 657023 w 657023"/>
              <a:gd name="connsiteY1" fmla="*/ 0 h 1011727"/>
              <a:gd name="connsiteX2" fmla="*/ 0 w 657023"/>
              <a:gd name="connsiteY2" fmla="*/ 1011727 h 1011727"/>
              <a:gd name="connsiteX3" fmla="*/ 0 w 657023"/>
              <a:gd name="connsiteY3" fmla="*/ 1 h 1011727"/>
            </a:gdLst>
            <a:ahLst/>
            <a:cxnLst>
              <a:cxn ang="0">
                <a:pos x="connsiteX0" y="connsiteY0"/>
              </a:cxn>
              <a:cxn ang="0">
                <a:pos x="connsiteX1" y="connsiteY1"/>
              </a:cxn>
              <a:cxn ang="0">
                <a:pos x="connsiteX2" y="connsiteY2"/>
              </a:cxn>
              <a:cxn ang="0">
                <a:pos x="connsiteX3" y="connsiteY3"/>
              </a:cxn>
            </a:cxnLst>
            <a:rect l="l" t="t" r="r" b="b"/>
            <a:pathLst>
              <a:path w="657023" h="1011727">
                <a:moveTo>
                  <a:pt x="21" y="0"/>
                </a:moveTo>
                <a:lnTo>
                  <a:pt x="657023" y="0"/>
                </a:lnTo>
                <a:lnTo>
                  <a:pt x="0" y="1011727"/>
                </a:lnTo>
                <a:lnTo>
                  <a:pt x="0" y="1"/>
                </a:lnTo>
                <a:close/>
              </a:path>
            </a:pathLst>
          </a:custGeom>
          <a:solidFill>
            <a:schemeClr val="tx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 name="Freeform: Shape 33">
            <a:extLst>
              <a:ext uri="{FF2B5EF4-FFF2-40B4-BE49-F238E27FC236}">
                <a16:creationId xmlns:a16="http://schemas.microsoft.com/office/drawing/2014/main" id="{1F2243F7-A6BE-E285-B0D3-5816A4135970}"/>
              </a:ext>
            </a:extLst>
          </p:cNvPr>
          <p:cNvSpPr/>
          <p:nvPr/>
        </p:nvSpPr>
        <p:spPr>
          <a:xfrm>
            <a:off x="5006819" y="980068"/>
            <a:ext cx="1801164" cy="2721936"/>
          </a:xfrm>
          <a:custGeom>
            <a:avLst/>
            <a:gdLst>
              <a:gd name="connsiteX0" fmla="*/ 1801164 w 1801164"/>
              <a:gd name="connsiteY0" fmla="*/ 0 h 2721936"/>
              <a:gd name="connsiteX1" fmla="*/ 916753 w 1801164"/>
              <a:gd name="connsiteY1" fmla="*/ 2721936 h 2721936"/>
              <a:gd name="connsiteX2" fmla="*/ 915343 w 1801164"/>
              <a:gd name="connsiteY2" fmla="*/ 2721478 h 2721936"/>
              <a:gd name="connsiteX3" fmla="*/ 915514 w 1801164"/>
              <a:gd name="connsiteY3" fmla="*/ 2721241 h 2721936"/>
              <a:gd name="connsiteX4" fmla="*/ 0 w 1801164"/>
              <a:gd name="connsiteY4" fmla="*/ 2056081 h 2721936"/>
              <a:gd name="connsiteX5" fmla="*/ 449231 w 1801164"/>
              <a:gd name="connsiteY5" fmla="*/ 673491 h 2721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1164" h="2721936">
                <a:moveTo>
                  <a:pt x="1801164" y="0"/>
                </a:moveTo>
                <a:lnTo>
                  <a:pt x="916753" y="2721936"/>
                </a:lnTo>
                <a:lnTo>
                  <a:pt x="915343" y="2721478"/>
                </a:lnTo>
                <a:lnTo>
                  <a:pt x="915514" y="2721241"/>
                </a:lnTo>
                <a:lnTo>
                  <a:pt x="0" y="2056081"/>
                </a:lnTo>
                <a:lnTo>
                  <a:pt x="449231" y="673491"/>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5" name="Freeform: Shape 34">
            <a:extLst>
              <a:ext uri="{FF2B5EF4-FFF2-40B4-BE49-F238E27FC236}">
                <a16:creationId xmlns:a16="http://schemas.microsoft.com/office/drawing/2014/main" id="{8085DBDA-33C3-09B5-31E9-3C095457C347}"/>
              </a:ext>
            </a:extLst>
          </p:cNvPr>
          <p:cNvSpPr/>
          <p:nvPr/>
        </p:nvSpPr>
        <p:spPr>
          <a:xfrm rot="1080000" flipH="1">
            <a:off x="4983487" y="2874513"/>
            <a:ext cx="950861" cy="617497"/>
          </a:xfrm>
          <a:custGeom>
            <a:avLst/>
            <a:gdLst>
              <a:gd name="connsiteX0" fmla="*/ 950861 w 950861"/>
              <a:gd name="connsiteY0" fmla="*/ 0 h 617497"/>
              <a:gd name="connsiteX1" fmla="*/ 0 w 950861"/>
              <a:gd name="connsiteY1" fmla="*/ 617497 h 617497"/>
              <a:gd name="connsiteX2" fmla="*/ 950861 w 950861"/>
              <a:gd name="connsiteY2" fmla="*/ 308543 h 617497"/>
            </a:gdLst>
            <a:ahLst/>
            <a:cxnLst>
              <a:cxn ang="0">
                <a:pos x="connsiteX0" y="connsiteY0"/>
              </a:cxn>
              <a:cxn ang="0">
                <a:pos x="connsiteX1" y="connsiteY1"/>
              </a:cxn>
              <a:cxn ang="0">
                <a:pos x="connsiteX2" y="connsiteY2"/>
              </a:cxn>
            </a:cxnLst>
            <a:rect l="l" t="t" r="r" b="b"/>
            <a:pathLst>
              <a:path w="950861" h="617497">
                <a:moveTo>
                  <a:pt x="950861" y="0"/>
                </a:moveTo>
                <a:lnTo>
                  <a:pt x="0" y="617497"/>
                </a:lnTo>
                <a:lnTo>
                  <a:pt x="950861" y="308543"/>
                </a:lnTo>
                <a:close/>
              </a:path>
            </a:pathLst>
          </a:custGeom>
          <a:solidFill>
            <a:schemeClr val="tx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 name="Oval 35">
            <a:extLst>
              <a:ext uri="{FF2B5EF4-FFF2-40B4-BE49-F238E27FC236}">
                <a16:creationId xmlns:a16="http://schemas.microsoft.com/office/drawing/2014/main" id="{3A3880F2-171E-0B2B-5B84-CF73B347D685}"/>
              </a:ext>
            </a:extLst>
          </p:cNvPr>
          <p:cNvSpPr/>
          <p:nvPr/>
        </p:nvSpPr>
        <p:spPr>
          <a:xfrm>
            <a:off x="5505646" y="3285316"/>
            <a:ext cx="833377" cy="833377"/>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17" name="Graphic 37" descr="Badge 5 with solid fill">
            <a:extLst>
              <a:ext uri="{FF2B5EF4-FFF2-40B4-BE49-F238E27FC236}">
                <a16:creationId xmlns:a16="http://schemas.microsoft.com/office/drawing/2014/main" id="{B606D3D2-DABB-0302-C653-F7E70DB815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85020" y="2961066"/>
            <a:ext cx="670069" cy="670069"/>
          </a:xfrm>
          <a:prstGeom prst="rect">
            <a:avLst/>
          </a:prstGeom>
        </p:spPr>
      </p:pic>
      <p:pic>
        <p:nvPicPr>
          <p:cNvPr id="18" name="Graphic 41" descr="Badge 4 with solid fill">
            <a:extLst>
              <a:ext uri="{FF2B5EF4-FFF2-40B4-BE49-F238E27FC236}">
                <a16:creationId xmlns:a16="http://schemas.microsoft.com/office/drawing/2014/main" id="{164D26C7-22E2-B72C-6EC4-EBD35FDFAAF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722928" y="4663872"/>
            <a:ext cx="670069" cy="670069"/>
          </a:xfrm>
          <a:prstGeom prst="rect">
            <a:avLst/>
          </a:prstGeom>
        </p:spPr>
      </p:pic>
      <p:pic>
        <p:nvPicPr>
          <p:cNvPr id="19" name="Graphic 42" descr="Badge 3 with solid fill">
            <a:extLst>
              <a:ext uri="{FF2B5EF4-FFF2-40B4-BE49-F238E27FC236}">
                <a16:creationId xmlns:a16="http://schemas.microsoft.com/office/drawing/2014/main" id="{6E4E4F36-6AF1-A3CF-5F98-AF561BB19FD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63297" y="4576258"/>
            <a:ext cx="670069" cy="670069"/>
          </a:xfrm>
          <a:prstGeom prst="rect">
            <a:avLst/>
          </a:prstGeom>
        </p:spPr>
      </p:pic>
      <p:pic>
        <p:nvPicPr>
          <p:cNvPr id="20" name="Graphic 43" descr="Badge with solid fill">
            <a:extLst>
              <a:ext uri="{FF2B5EF4-FFF2-40B4-BE49-F238E27FC236}">
                <a16:creationId xmlns:a16="http://schemas.microsoft.com/office/drawing/2014/main" id="{9DB539E0-6E4B-7E2E-74FC-2F683058FA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44184" y="2828148"/>
            <a:ext cx="670069" cy="670069"/>
          </a:xfrm>
          <a:prstGeom prst="rect">
            <a:avLst/>
          </a:prstGeom>
        </p:spPr>
      </p:pic>
      <p:pic>
        <p:nvPicPr>
          <p:cNvPr id="21" name="Graphic 44" descr="Badge 1 with solid fill">
            <a:extLst>
              <a:ext uri="{FF2B5EF4-FFF2-40B4-BE49-F238E27FC236}">
                <a16:creationId xmlns:a16="http://schemas.microsoft.com/office/drawing/2014/main" id="{73A18D5F-7AA5-55A8-B3B6-BA6BE53658E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572367" y="1810488"/>
            <a:ext cx="670069" cy="670069"/>
          </a:xfrm>
          <a:prstGeom prst="rect">
            <a:avLst/>
          </a:prstGeom>
        </p:spPr>
      </p:pic>
      <p:sp>
        <p:nvSpPr>
          <p:cNvPr id="29" name="TextBox 22">
            <a:extLst>
              <a:ext uri="{FF2B5EF4-FFF2-40B4-BE49-F238E27FC236}">
                <a16:creationId xmlns:a16="http://schemas.microsoft.com/office/drawing/2014/main" id="{463180A4-14BF-FD9F-0CBA-B1580986C752}"/>
              </a:ext>
            </a:extLst>
          </p:cNvPr>
          <p:cNvSpPr txBox="1"/>
          <p:nvPr/>
        </p:nvSpPr>
        <p:spPr>
          <a:xfrm>
            <a:off x="8190983" y="5177716"/>
            <a:ext cx="2926080" cy="830997"/>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noProof="1">
                <a:solidFill>
                  <a:schemeClr val="accent2">
                    <a:lumMod val="75000"/>
                  </a:schemeClr>
                </a:solidFill>
              </a:rPr>
              <a:t>Environnement </a:t>
            </a:r>
            <a:r>
              <a:rPr lang="fr-FR" sz="2400" b="1" dirty="0">
                <a:solidFill>
                  <a:schemeClr val="accent2">
                    <a:lumMod val="75000"/>
                  </a:schemeClr>
                </a:solidFill>
              </a:rPr>
              <a:t>É</a:t>
            </a:r>
            <a:r>
              <a:rPr lang="en-US" sz="2400" b="1" noProof="1">
                <a:solidFill>
                  <a:schemeClr val="accent2">
                    <a:lumMod val="75000"/>
                  </a:schemeClr>
                </a:solidFill>
              </a:rPr>
              <a:t>cologique</a:t>
            </a:r>
          </a:p>
        </p:txBody>
      </p:sp>
      <p:sp>
        <p:nvSpPr>
          <p:cNvPr id="27" name="TextBox 28">
            <a:extLst>
              <a:ext uri="{FF2B5EF4-FFF2-40B4-BE49-F238E27FC236}">
                <a16:creationId xmlns:a16="http://schemas.microsoft.com/office/drawing/2014/main" id="{74FEA3FE-7909-21E4-DE76-098DB6FEF018}"/>
              </a:ext>
            </a:extLst>
          </p:cNvPr>
          <p:cNvSpPr txBox="1"/>
          <p:nvPr/>
        </p:nvSpPr>
        <p:spPr>
          <a:xfrm>
            <a:off x="8969151" y="2800138"/>
            <a:ext cx="3248000" cy="830997"/>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noProof="1">
                <a:solidFill>
                  <a:schemeClr val="accent1"/>
                </a:solidFill>
              </a:rPr>
              <a:t>Environnement socioculturel</a:t>
            </a:r>
          </a:p>
        </p:txBody>
      </p:sp>
      <p:sp>
        <p:nvSpPr>
          <p:cNvPr id="25" name="TextBox 46">
            <a:extLst>
              <a:ext uri="{FF2B5EF4-FFF2-40B4-BE49-F238E27FC236}">
                <a16:creationId xmlns:a16="http://schemas.microsoft.com/office/drawing/2014/main" id="{3C1971D0-E59B-A5F4-B068-DE737B4623CE}"/>
              </a:ext>
            </a:extLst>
          </p:cNvPr>
          <p:cNvSpPr txBox="1"/>
          <p:nvPr/>
        </p:nvSpPr>
        <p:spPr>
          <a:xfrm>
            <a:off x="7495010" y="1256399"/>
            <a:ext cx="3098141" cy="830997"/>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noProof="1">
                <a:solidFill>
                  <a:schemeClr val="bg1"/>
                </a:solidFill>
              </a:rPr>
              <a:t>Environnement </a:t>
            </a:r>
            <a:r>
              <a:rPr lang="fr-FR" sz="2400" b="1" dirty="0">
                <a:solidFill>
                  <a:schemeClr val="bg1"/>
                </a:solidFill>
              </a:rPr>
              <a:t>Économique</a:t>
            </a:r>
            <a:endParaRPr lang="en-US" sz="2400" b="1" noProof="1">
              <a:solidFill>
                <a:schemeClr val="bg1"/>
              </a:solidFill>
            </a:endParaRPr>
          </a:p>
        </p:txBody>
      </p:sp>
      <p:sp>
        <p:nvSpPr>
          <p:cNvPr id="47" name="TextBox 1">
            <a:extLst>
              <a:ext uri="{FF2B5EF4-FFF2-40B4-BE49-F238E27FC236}">
                <a16:creationId xmlns:a16="http://schemas.microsoft.com/office/drawing/2014/main" id="{7ED22468-DC17-89A8-6DC0-C4D760E9764F}"/>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sp>
        <p:nvSpPr>
          <p:cNvPr id="48" name="TextBox 3">
            <a:extLst>
              <a:ext uri="{FF2B5EF4-FFF2-40B4-BE49-F238E27FC236}">
                <a16:creationId xmlns:a16="http://schemas.microsoft.com/office/drawing/2014/main" id="{C98BE1DB-3DF0-B1CC-11F3-5DD5476FE791}"/>
              </a:ext>
            </a:extLst>
          </p:cNvPr>
          <p:cNvSpPr txBox="1"/>
          <p:nvPr/>
        </p:nvSpPr>
        <p:spPr>
          <a:xfrm>
            <a:off x="880404" y="404101"/>
            <a:ext cx="237244"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de</a:t>
            </a:r>
          </a:p>
        </p:txBody>
      </p:sp>
      <p:sp>
        <p:nvSpPr>
          <p:cNvPr id="49" name="TextBox 30">
            <a:extLst>
              <a:ext uri="{FF2B5EF4-FFF2-40B4-BE49-F238E27FC236}">
                <a16:creationId xmlns:a16="http://schemas.microsoft.com/office/drawing/2014/main" id="{169EA67F-2342-464B-8EAF-EB055CF4DC07}"/>
              </a:ext>
            </a:extLst>
          </p:cNvPr>
          <p:cNvSpPr txBox="1"/>
          <p:nvPr/>
        </p:nvSpPr>
        <p:spPr>
          <a:xfrm>
            <a:off x="1171948" y="404101"/>
            <a:ext cx="722955"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lang="en-US" kern="0" dirty="0">
                <a:solidFill>
                  <a:prstClr val="white"/>
                </a:solidFill>
                <a:latin typeface="Darker Grotesque" pitchFamily="2" charset="0"/>
              </a:rPr>
              <a:t>Marché</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grpSp>
        <p:nvGrpSpPr>
          <p:cNvPr id="50" name="Group 44">
            <a:extLst>
              <a:ext uri="{FF2B5EF4-FFF2-40B4-BE49-F238E27FC236}">
                <a16:creationId xmlns:a16="http://schemas.microsoft.com/office/drawing/2014/main" id="{8868C9F5-EA26-9CED-D1BA-0386C3A858E1}"/>
              </a:ext>
            </a:extLst>
          </p:cNvPr>
          <p:cNvGrpSpPr/>
          <p:nvPr/>
        </p:nvGrpSpPr>
        <p:grpSpPr>
          <a:xfrm>
            <a:off x="234547" y="369986"/>
            <a:ext cx="11709360" cy="1717410"/>
            <a:chOff x="234547" y="369986"/>
            <a:chExt cx="11709360" cy="1717410"/>
          </a:xfrm>
        </p:grpSpPr>
        <p:cxnSp>
          <p:nvCxnSpPr>
            <p:cNvPr id="51" name="Straight Connector 9">
              <a:extLst>
                <a:ext uri="{FF2B5EF4-FFF2-40B4-BE49-F238E27FC236}">
                  <a16:creationId xmlns:a16="http://schemas.microsoft.com/office/drawing/2014/main" id="{F6C10F56-A273-C32F-0F55-F8DAD118B94A}"/>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52" name="!!model">
              <a:extLst>
                <a:ext uri="{FF2B5EF4-FFF2-40B4-BE49-F238E27FC236}">
                  <a16:creationId xmlns:a16="http://schemas.microsoft.com/office/drawing/2014/main" id="{F51B1873-4223-1D99-F908-62B7BB4F14F7}"/>
                </a:ext>
              </a:extLst>
            </p:cNvPr>
            <p:cNvGrpSpPr/>
            <p:nvPr/>
          </p:nvGrpSpPr>
          <p:grpSpPr>
            <a:xfrm>
              <a:off x="5842207" y="369986"/>
              <a:ext cx="507586" cy="507586"/>
              <a:chOff x="5832785" y="1868829"/>
              <a:chExt cx="507586" cy="507586"/>
            </a:xfrm>
          </p:grpSpPr>
          <p:sp>
            <p:nvSpPr>
              <p:cNvPr id="54" name="Oval 25">
                <a:extLst>
                  <a:ext uri="{FF2B5EF4-FFF2-40B4-BE49-F238E27FC236}">
                    <a16:creationId xmlns:a16="http://schemas.microsoft.com/office/drawing/2014/main" id="{DDCEEB63-FD54-930B-5BB2-ED1F246A5617}"/>
                  </a:ext>
                </a:extLst>
              </p:cNvPr>
              <p:cNvSpPr/>
              <p:nvPr/>
            </p:nvSpPr>
            <p:spPr>
              <a:xfrm>
                <a:off x="5832785" y="1868829"/>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5" name="Graphic 26">
                <a:extLst>
                  <a:ext uri="{FF2B5EF4-FFF2-40B4-BE49-F238E27FC236}">
                    <a16:creationId xmlns:a16="http://schemas.microsoft.com/office/drawing/2014/main" id="{D6D85D96-DFC0-A226-E885-3CBE48B72041}"/>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5960578" y="1996622"/>
                <a:ext cx="252000" cy="252000"/>
              </a:xfrm>
              <a:prstGeom prst="rect">
                <a:avLst/>
              </a:prstGeom>
            </p:spPr>
          </p:pic>
        </p:grpSp>
        <p:sp>
          <p:nvSpPr>
            <p:cNvPr id="53" name="TextBox 20">
              <a:extLst>
                <a:ext uri="{FF2B5EF4-FFF2-40B4-BE49-F238E27FC236}">
                  <a16:creationId xmlns:a16="http://schemas.microsoft.com/office/drawing/2014/main" id="{5CCA2FCA-1C43-96D5-E750-A7B4C2951CB7}"/>
                </a:ext>
              </a:extLst>
            </p:cNvPr>
            <p:cNvSpPr txBox="1"/>
            <p:nvPr/>
          </p:nvSpPr>
          <p:spPr>
            <a:xfrm>
              <a:off x="234547" y="1056986"/>
              <a:ext cx="4757048" cy="1030410"/>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800" dirty="0">
                  <a:solidFill>
                    <a:schemeClr val="bg1"/>
                  </a:solidFill>
                </a:rPr>
                <a:t>Modèle d’analyse PESTEL</a:t>
              </a:r>
              <a:endParaRPr lang="en-GB" sz="4800" dirty="0"/>
            </a:p>
          </p:txBody>
        </p:sp>
      </p:grpSp>
      <p:sp>
        <p:nvSpPr>
          <p:cNvPr id="2" name="Rectangle 1">
            <a:extLst>
              <a:ext uri="{FF2B5EF4-FFF2-40B4-BE49-F238E27FC236}">
                <a16:creationId xmlns:a16="http://schemas.microsoft.com/office/drawing/2014/main" id="{156A039C-A832-4DDA-A011-CE9A795D4BE5}"/>
              </a:ext>
            </a:extLst>
          </p:cNvPr>
          <p:cNvSpPr/>
          <p:nvPr/>
        </p:nvSpPr>
        <p:spPr>
          <a:xfrm>
            <a:off x="11604076" y="6188157"/>
            <a:ext cx="418704" cy="646331"/>
          </a:xfrm>
          <a:prstGeom prst="rect">
            <a:avLst/>
          </a:prstGeom>
        </p:spPr>
        <p:txBody>
          <a:bodyPr wrap="none">
            <a:spAutoFit/>
          </a:bodyPr>
          <a:lstStyle/>
          <a:p>
            <a:r>
              <a:rPr lang="en-US" sz="36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5</a:t>
            </a:r>
            <a:endParaRPr lang="fr-TN" sz="3600" dirty="0"/>
          </a:p>
        </p:txBody>
      </p:sp>
    </p:spTree>
    <p:extLst>
      <p:ext uri="{BB962C8B-B14F-4D97-AF65-F5344CB8AC3E}">
        <p14:creationId xmlns:p14="http://schemas.microsoft.com/office/powerpoint/2010/main" val="18853346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C7FC46C6-672D-48DB-4476-1075E36DCB1D}"/>
              </a:ext>
            </a:extLst>
          </p:cNvPr>
          <p:cNvSpPr txBox="1"/>
          <p:nvPr/>
        </p:nvSpPr>
        <p:spPr>
          <a:xfrm>
            <a:off x="3179345" y="2756912"/>
            <a:ext cx="6093994" cy="1446550"/>
          </a:xfrm>
          <a:prstGeom prst="rect">
            <a:avLst/>
          </a:prstGeom>
          <a:noFill/>
        </p:spPr>
        <p:txBody>
          <a:bodyPr wrap="square">
            <a:spAutoFit/>
          </a:bodyPr>
          <a:lstStyle/>
          <a:p>
            <a:pPr algn="ctr"/>
            <a:r>
              <a:rPr lang="fr-FR" sz="4400" b="1" dirty="0">
                <a:solidFill>
                  <a:schemeClr val="bg1"/>
                </a:solidFill>
              </a:rPr>
              <a:t>Analyse </a:t>
            </a:r>
          </a:p>
          <a:p>
            <a:pPr algn="ctr"/>
            <a:r>
              <a:rPr lang="fr-FR" sz="4400" b="1" dirty="0">
                <a:solidFill>
                  <a:schemeClr val="bg1"/>
                </a:solidFill>
              </a:rPr>
              <a:t>Micro-environnementale</a:t>
            </a:r>
            <a:endParaRPr lang="en-GB" sz="4400" b="1" dirty="0"/>
          </a:p>
        </p:txBody>
      </p:sp>
    </p:spTree>
    <p:extLst>
      <p:ext uri="{BB962C8B-B14F-4D97-AF65-F5344CB8AC3E}">
        <p14:creationId xmlns:p14="http://schemas.microsoft.com/office/powerpoint/2010/main" val="123959925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a:extLst>
              <a:ext uri="{FF2B5EF4-FFF2-40B4-BE49-F238E27FC236}">
                <a16:creationId xmlns:a16="http://schemas.microsoft.com/office/drawing/2014/main" id="{4BD21AB4-0B99-8212-4C32-0B1F9CF86644}"/>
              </a:ext>
            </a:extLst>
          </p:cNvPr>
          <p:cNvSpPr txBox="1"/>
          <p:nvPr/>
        </p:nvSpPr>
        <p:spPr>
          <a:xfrm>
            <a:off x="1244818" y="404785"/>
            <a:ext cx="9867006" cy="183370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3800" b="0" i="0" u="none" strike="noStrike" kern="0" cap="none" spc="0" normalizeH="0" baseline="0" noProof="0" dirty="0">
                <a:ln>
                  <a:noFill/>
                </a:ln>
                <a:solidFill>
                  <a:prstClr val="white"/>
                </a:solidFill>
                <a:effectLst/>
                <a:uLnTx/>
                <a:uFillTx/>
                <a:latin typeface="Darker Grotesque" pitchFamily="2" charset="0"/>
              </a:rPr>
              <a:t>Etude </a:t>
            </a:r>
          </a:p>
        </p:txBody>
      </p:sp>
      <p:sp>
        <p:nvSpPr>
          <p:cNvPr id="36" name="TextBox 35">
            <a:extLst>
              <a:ext uri="{FF2B5EF4-FFF2-40B4-BE49-F238E27FC236}">
                <a16:creationId xmlns:a16="http://schemas.microsoft.com/office/drawing/2014/main" id="{4E6F5232-F3C8-2CC6-9C58-8C7B154858A3}"/>
              </a:ext>
            </a:extLst>
          </p:cNvPr>
          <p:cNvSpPr txBox="1"/>
          <p:nvPr/>
        </p:nvSpPr>
        <p:spPr>
          <a:xfrm>
            <a:off x="2561461" y="2396120"/>
            <a:ext cx="7120466" cy="183370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3800" b="0" i="0" u="none" strike="noStrike" kern="0" cap="none" spc="0" normalizeH="0" baseline="0" noProof="0" dirty="0">
                <a:ln>
                  <a:noFill/>
                </a:ln>
                <a:solidFill>
                  <a:prstClr val="white"/>
                </a:solidFill>
                <a:effectLst/>
                <a:uLnTx/>
                <a:uFillTx/>
                <a:latin typeface="Darker Grotesque" pitchFamily="2" charset="0"/>
              </a:rPr>
              <a:t>de</a:t>
            </a:r>
          </a:p>
        </p:txBody>
      </p:sp>
      <p:sp>
        <p:nvSpPr>
          <p:cNvPr id="31" name="TextBox 30">
            <a:extLst>
              <a:ext uri="{FF2B5EF4-FFF2-40B4-BE49-F238E27FC236}">
                <a16:creationId xmlns:a16="http://schemas.microsoft.com/office/drawing/2014/main" id="{7B8CBAD5-317F-4601-B222-2AEF6D4D38D9}"/>
              </a:ext>
            </a:extLst>
          </p:cNvPr>
          <p:cNvSpPr txBox="1"/>
          <p:nvPr/>
        </p:nvSpPr>
        <p:spPr>
          <a:xfrm>
            <a:off x="82321" y="4274879"/>
            <a:ext cx="12191999" cy="183370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3800" b="0" i="0" u="none" strike="noStrike" kern="0" cap="none" spc="0" normalizeH="0" baseline="0" noProof="0" dirty="0">
                <a:ln>
                  <a:noFill/>
                </a:ln>
                <a:solidFill>
                  <a:prstClr val="white"/>
                </a:solidFill>
                <a:effectLst/>
                <a:uLnTx/>
                <a:uFillTx/>
                <a:latin typeface="Darker Grotesque" pitchFamily="2" charset="0"/>
              </a:rPr>
              <a:t>Marché</a:t>
            </a:r>
          </a:p>
        </p:txBody>
      </p:sp>
    </p:spTree>
    <p:extLst>
      <p:ext uri="{BB962C8B-B14F-4D97-AF65-F5344CB8AC3E}">
        <p14:creationId xmlns:p14="http://schemas.microsoft.com/office/powerpoint/2010/main" val="2711027437"/>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8C42B-CDAB-1D02-B086-80E643AD1F65}"/>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6CA9BD0A-6C45-2F9E-4C33-1FC3A29F9D3F}"/>
              </a:ext>
            </a:extLst>
          </p:cNvPr>
          <p:cNvSpPr>
            <a:spLocks noGrp="1"/>
          </p:cNvSpPr>
          <p:nvPr/>
        </p:nvSpPr>
        <p:spPr>
          <a:xfrm>
            <a:off x="668980" y="436486"/>
            <a:ext cx="11353800" cy="739056"/>
          </a:xfrm>
          <a:prstGeom prst="rect">
            <a:avLst/>
          </a:prstGeom>
        </p:spPr>
        <p:txBody>
          <a:bodyPr rIns="0">
            <a:normAutofit/>
          </a:bodyPr>
          <a:lstStyle>
            <a:lvl1pPr algn="l" defTabSz="914400" rtl="0" eaLnBrk="1" latinLnBrk="0" hangingPunct="1">
              <a:lnSpc>
                <a:spcPct val="90000"/>
              </a:lnSpc>
              <a:spcBef>
                <a:spcPct val="0"/>
              </a:spcBef>
              <a:buNone/>
              <a:defRPr lang="en-US" sz="3600" b="1" kern="1200">
                <a:solidFill>
                  <a:schemeClr val="tx1"/>
                </a:solidFill>
                <a:latin typeface="Helvetica" panose="020B0500000000000000" pitchFamily="34" charset="0"/>
                <a:ea typeface="+mj-ea"/>
                <a:cs typeface="+mj-cs"/>
              </a:defRPr>
            </a:lvl1pPr>
          </a:lstStyle>
          <a:p>
            <a:endParaRPr lang="en-US" dirty="0"/>
          </a:p>
        </p:txBody>
      </p:sp>
      <p:sp>
        <p:nvSpPr>
          <p:cNvPr id="47" name="TextBox 1">
            <a:extLst>
              <a:ext uri="{FF2B5EF4-FFF2-40B4-BE49-F238E27FC236}">
                <a16:creationId xmlns:a16="http://schemas.microsoft.com/office/drawing/2014/main" id="{EDB25959-4F8B-3F50-B293-2705CEC8876A}"/>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sp>
        <p:nvSpPr>
          <p:cNvPr id="48" name="TextBox 3">
            <a:extLst>
              <a:ext uri="{FF2B5EF4-FFF2-40B4-BE49-F238E27FC236}">
                <a16:creationId xmlns:a16="http://schemas.microsoft.com/office/drawing/2014/main" id="{7318B0A9-FA6A-225F-523B-B5D2CFCE1E04}"/>
              </a:ext>
            </a:extLst>
          </p:cNvPr>
          <p:cNvSpPr txBox="1"/>
          <p:nvPr/>
        </p:nvSpPr>
        <p:spPr>
          <a:xfrm>
            <a:off x="880404" y="404101"/>
            <a:ext cx="237244"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de</a:t>
            </a:r>
          </a:p>
        </p:txBody>
      </p:sp>
      <p:sp>
        <p:nvSpPr>
          <p:cNvPr id="49" name="TextBox 30">
            <a:extLst>
              <a:ext uri="{FF2B5EF4-FFF2-40B4-BE49-F238E27FC236}">
                <a16:creationId xmlns:a16="http://schemas.microsoft.com/office/drawing/2014/main" id="{B0820DDF-45D2-338D-6184-0A21AD275850}"/>
              </a:ext>
            </a:extLst>
          </p:cNvPr>
          <p:cNvSpPr txBox="1"/>
          <p:nvPr/>
        </p:nvSpPr>
        <p:spPr>
          <a:xfrm>
            <a:off x="1171948" y="404101"/>
            <a:ext cx="722955"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lang="en-US" kern="0" dirty="0">
                <a:solidFill>
                  <a:prstClr val="white"/>
                </a:solidFill>
                <a:latin typeface="Darker Grotesque" pitchFamily="2" charset="0"/>
              </a:rPr>
              <a:t>Marché</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grpSp>
        <p:nvGrpSpPr>
          <p:cNvPr id="50" name="Group 44">
            <a:extLst>
              <a:ext uri="{FF2B5EF4-FFF2-40B4-BE49-F238E27FC236}">
                <a16:creationId xmlns:a16="http://schemas.microsoft.com/office/drawing/2014/main" id="{23952B5D-D141-2BF9-E597-8A6C6058F2B7}"/>
              </a:ext>
            </a:extLst>
          </p:cNvPr>
          <p:cNvGrpSpPr/>
          <p:nvPr/>
        </p:nvGrpSpPr>
        <p:grpSpPr>
          <a:xfrm>
            <a:off x="234547" y="623779"/>
            <a:ext cx="11709360" cy="1463617"/>
            <a:chOff x="234547" y="623779"/>
            <a:chExt cx="11709360" cy="1463617"/>
          </a:xfrm>
        </p:grpSpPr>
        <p:cxnSp>
          <p:nvCxnSpPr>
            <p:cNvPr id="51" name="Straight Connector 9">
              <a:extLst>
                <a:ext uri="{FF2B5EF4-FFF2-40B4-BE49-F238E27FC236}">
                  <a16:creationId xmlns:a16="http://schemas.microsoft.com/office/drawing/2014/main" id="{AF214C14-A77C-F362-94E6-9594B7BFBAD6}"/>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53" name="TextBox 20">
              <a:extLst>
                <a:ext uri="{FF2B5EF4-FFF2-40B4-BE49-F238E27FC236}">
                  <a16:creationId xmlns:a16="http://schemas.microsoft.com/office/drawing/2014/main" id="{C5A1797E-EDF2-2A9E-C78F-669F96ABDEA3}"/>
                </a:ext>
              </a:extLst>
            </p:cNvPr>
            <p:cNvSpPr txBox="1"/>
            <p:nvPr/>
          </p:nvSpPr>
          <p:spPr>
            <a:xfrm>
              <a:off x="234547" y="1056986"/>
              <a:ext cx="8873358" cy="1030410"/>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4800" dirty="0">
                  <a:sym typeface="DM Sans"/>
                </a:rPr>
                <a:t>Concurrent direct</a:t>
              </a:r>
            </a:p>
            <a:p>
              <a:endParaRPr lang="en-GB" sz="4800" dirty="0"/>
            </a:p>
          </p:txBody>
        </p:sp>
      </p:grpSp>
      <p:sp>
        <p:nvSpPr>
          <p:cNvPr id="2" name="Oval 25">
            <a:extLst>
              <a:ext uri="{FF2B5EF4-FFF2-40B4-BE49-F238E27FC236}">
                <a16:creationId xmlns:a16="http://schemas.microsoft.com/office/drawing/2014/main" id="{A64F048E-3307-F57F-B5C9-B4C52A5A7D39}"/>
              </a:ext>
            </a:extLst>
          </p:cNvPr>
          <p:cNvSpPr/>
          <p:nvPr/>
        </p:nvSpPr>
        <p:spPr>
          <a:xfrm>
            <a:off x="5842207" y="369986"/>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4" name="Graphic 26">
            <a:extLst>
              <a:ext uri="{FF2B5EF4-FFF2-40B4-BE49-F238E27FC236}">
                <a16:creationId xmlns:a16="http://schemas.microsoft.com/office/drawing/2014/main" id="{C0F7580C-F6F6-8187-1B14-47C8C048C56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970000" y="497779"/>
            <a:ext cx="252000" cy="252000"/>
          </a:xfrm>
          <a:prstGeom prst="rect">
            <a:avLst/>
          </a:prstGeom>
        </p:spPr>
      </p:pic>
      <p:grpSp>
        <p:nvGrpSpPr>
          <p:cNvPr id="5" name="Group 2">
            <a:extLst>
              <a:ext uri="{FF2B5EF4-FFF2-40B4-BE49-F238E27FC236}">
                <a16:creationId xmlns:a16="http://schemas.microsoft.com/office/drawing/2014/main" id="{FB0666BA-9E1A-054C-8E1D-A845A76CF33E}"/>
              </a:ext>
            </a:extLst>
          </p:cNvPr>
          <p:cNvGrpSpPr/>
          <p:nvPr/>
        </p:nvGrpSpPr>
        <p:grpSpPr>
          <a:xfrm>
            <a:off x="601264" y="2046175"/>
            <a:ext cx="11098046" cy="3945551"/>
            <a:chOff x="0" y="0"/>
            <a:chExt cx="14701054" cy="5213537"/>
          </a:xfrm>
        </p:grpSpPr>
        <p:sp>
          <p:nvSpPr>
            <p:cNvPr id="22" name="Freeform 3">
              <a:extLst>
                <a:ext uri="{FF2B5EF4-FFF2-40B4-BE49-F238E27FC236}">
                  <a16:creationId xmlns:a16="http://schemas.microsoft.com/office/drawing/2014/main" id="{F10B3965-DC29-73B7-4022-7752D1300AA5}"/>
                </a:ext>
              </a:extLst>
            </p:cNvPr>
            <p:cNvSpPr/>
            <p:nvPr/>
          </p:nvSpPr>
          <p:spPr>
            <a:xfrm>
              <a:off x="0" y="0"/>
              <a:ext cx="14701055" cy="5213538"/>
            </a:xfrm>
            <a:custGeom>
              <a:avLst/>
              <a:gdLst/>
              <a:ahLst/>
              <a:cxnLst/>
              <a:rect l="l" t="t" r="r" b="b"/>
              <a:pathLst>
                <a:path w="14701055" h="5213538">
                  <a:moveTo>
                    <a:pt x="14576594" y="5213537"/>
                  </a:moveTo>
                  <a:lnTo>
                    <a:pt x="124460" y="5213537"/>
                  </a:lnTo>
                  <a:cubicBezTo>
                    <a:pt x="55880" y="5213537"/>
                    <a:pt x="0" y="5157657"/>
                    <a:pt x="0" y="5089077"/>
                  </a:cubicBezTo>
                  <a:lnTo>
                    <a:pt x="0" y="124460"/>
                  </a:lnTo>
                  <a:cubicBezTo>
                    <a:pt x="0" y="55880"/>
                    <a:pt x="55880" y="0"/>
                    <a:pt x="124460" y="0"/>
                  </a:cubicBezTo>
                  <a:lnTo>
                    <a:pt x="14576594" y="0"/>
                  </a:lnTo>
                  <a:cubicBezTo>
                    <a:pt x="14645174" y="0"/>
                    <a:pt x="14701055" y="55880"/>
                    <a:pt x="14701055" y="124460"/>
                  </a:cubicBezTo>
                  <a:lnTo>
                    <a:pt x="14701055" y="5089077"/>
                  </a:lnTo>
                  <a:cubicBezTo>
                    <a:pt x="14701055" y="5157657"/>
                    <a:pt x="14645174" y="5213538"/>
                    <a:pt x="14576594" y="5213538"/>
                  </a:cubicBezTo>
                  <a:close/>
                </a:path>
              </a:pathLst>
            </a:custGeom>
            <a:solidFill>
              <a:srgbClr val="EDF0F2">
                <a:alpha val="60000"/>
              </a:srgbClr>
            </a:solidFill>
          </p:spPr>
        </p:sp>
      </p:grpSp>
      <p:sp>
        <p:nvSpPr>
          <p:cNvPr id="28" name="TextBox 7">
            <a:extLst>
              <a:ext uri="{FF2B5EF4-FFF2-40B4-BE49-F238E27FC236}">
                <a16:creationId xmlns:a16="http://schemas.microsoft.com/office/drawing/2014/main" id="{7008BF8B-3256-7D7E-22C8-69FD4F4EA6FD}"/>
              </a:ext>
            </a:extLst>
          </p:cNvPr>
          <p:cNvSpPr txBox="1"/>
          <p:nvPr/>
        </p:nvSpPr>
        <p:spPr>
          <a:xfrm>
            <a:off x="999026" y="3076585"/>
            <a:ext cx="4436574" cy="1936428"/>
          </a:xfrm>
          <a:prstGeom prst="rect">
            <a:avLst/>
          </a:prstGeom>
        </p:spPr>
        <p:txBody>
          <a:bodyPr wrap="square" lIns="0" tIns="0" rIns="0" bIns="0" rtlCol="0" anchor="t">
            <a:spAutoFit/>
          </a:bodyPr>
          <a:lstStyle/>
          <a:p>
            <a:pPr marL="604516" lvl="1" indent="-302258">
              <a:lnSpc>
                <a:spcPts val="3919"/>
              </a:lnSpc>
              <a:buFont typeface="Arial"/>
              <a:buChar char="•"/>
            </a:pPr>
            <a:r>
              <a:rPr lang="en-US" b="1" dirty="0">
                <a:solidFill>
                  <a:schemeClr val="bg1"/>
                </a:solidFill>
                <a:latin typeface="DM Sans"/>
                <a:ea typeface="DM Sans"/>
                <a:cs typeface="DM Sans"/>
                <a:sym typeface="DM Sans"/>
              </a:rPr>
              <a:t>Location de bateaux entre particuliers</a:t>
            </a:r>
          </a:p>
          <a:p>
            <a:pPr marL="604516" lvl="1" indent="-302258">
              <a:lnSpc>
                <a:spcPts val="3919"/>
              </a:lnSpc>
              <a:buFont typeface="Arial"/>
              <a:buChar char="•"/>
            </a:pPr>
            <a:r>
              <a:rPr lang="en-US" b="1" dirty="0">
                <a:solidFill>
                  <a:schemeClr val="bg1"/>
                </a:solidFill>
                <a:latin typeface="DM Sans"/>
                <a:ea typeface="DM Sans"/>
                <a:cs typeface="DM Sans"/>
                <a:sym typeface="DM Sans"/>
              </a:rPr>
              <a:t>Facile à utiliser, mais limité aux bateaux</a:t>
            </a:r>
          </a:p>
          <a:p>
            <a:pPr marL="604516" lvl="1" indent="-302258">
              <a:lnSpc>
                <a:spcPts val="3919"/>
              </a:lnSpc>
              <a:buFont typeface="Arial"/>
              <a:buChar char="•"/>
            </a:pPr>
            <a:r>
              <a:rPr lang="en-US" b="1" dirty="0">
                <a:solidFill>
                  <a:schemeClr val="bg1"/>
                </a:solidFill>
                <a:latin typeface="DM Sans"/>
                <a:ea typeface="DM Sans"/>
                <a:cs typeface="DM Sans"/>
                <a:sym typeface="DM Sans"/>
              </a:rPr>
              <a:t>Ne couvre ni cabanes, ni activités variées</a:t>
            </a:r>
          </a:p>
        </p:txBody>
      </p:sp>
      <p:sp>
        <p:nvSpPr>
          <p:cNvPr id="30" name="TextBox 9">
            <a:extLst>
              <a:ext uri="{FF2B5EF4-FFF2-40B4-BE49-F238E27FC236}">
                <a16:creationId xmlns:a16="http://schemas.microsoft.com/office/drawing/2014/main" id="{F1F37931-92CB-C64E-3904-B8C3676FCF7F}"/>
              </a:ext>
            </a:extLst>
          </p:cNvPr>
          <p:cNvSpPr txBox="1"/>
          <p:nvPr/>
        </p:nvSpPr>
        <p:spPr>
          <a:xfrm>
            <a:off x="949024" y="2160245"/>
            <a:ext cx="3817310" cy="784574"/>
          </a:xfrm>
          <a:prstGeom prst="rect">
            <a:avLst/>
          </a:prstGeom>
        </p:spPr>
        <p:txBody>
          <a:bodyPr wrap="square" lIns="0" tIns="0" rIns="0" bIns="0" rtlCol="0" anchor="t">
            <a:spAutoFit/>
          </a:bodyPr>
          <a:lstStyle/>
          <a:p>
            <a:pPr algn="ctr">
              <a:lnSpc>
                <a:spcPts val="6719"/>
              </a:lnSpc>
              <a:spcBef>
                <a:spcPct val="0"/>
              </a:spcBef>
            </a:pPr>
            <a:r>
              <a:rPr lang="en-US" sz="4800" b="1" spc="-48" dirty="0">
                <a:solidFill>
                  <a:schemeClr val="bg1"/>
                </a:solidFill>
                <a:latin typeface="DM Sans Bold"/>
                <a:ea typeface="DM Sans Bold"/>
                <a:cs typeface="DM Sans Bold"/>
                <a:sym typeface="DM Sans Bold"/>
              </a:rPr>
              <a:t>Tuniboat</a:t>
            </a:r>
          </a:p>
        </p:txBody>
      </p:sp>
      <p:sp>
        <p:nvSpPr>
          <p:cNvPr id="6" name="Freeform 6">
            <a:extLst>
              <a:ext uri="{FF2B5EF4-FFF2-40B4-BE49-F238E27FC236}">
                <a16:creationId xmlns:a16="http://schemas.microsoft.com/office/drawing/2014/main" id="{CD3A3D6A-1C23-B8E8-3A93-2F74098F7767}"/>
              </a:ext>
            </a:extLst>
          </p:cNvPr>
          <p:cNvSpPr/>
          <p:nvPr/>
        </p:nvSpPr>
        <p:spPr>
          <a:xfrm>
            <a:off x="6345880" y="2701485"/>
            <a:ext cx="4885136" cy="2634931"/>
          </a:xfrm>
          <a:custGeom>
            <a:avLst/>
            <a:gdLst/>
            <a:ahLst/>
            <a:cxnLst/>
            <a:rect l="l" t="t" r="r" b="b"/>
            <a:pathLst>
              <a:path w="8567638" h="3983952">
                <a:moveTo>
                  <a:pt x="0" y="0"/>
                </a:moveTo>
                <a:lnTo>
                  <a:pt x="8567638" y="0"/>
                </a:lnTo>
                <a:lnTo>
                  <a:pt x="8567638" y="3983952"/>
                </a:lnTo>
                <a:lnTo>
                  <a:pt x="0" y="3983952"/>
                </a:lnTo>
                <a:lnTo>
                  <a:pt x="0" y="0"/>
                </a:lnTo>
                <a:close/>
              </a:path>
            </a:pathLst>
          </a:custGeom>
          <a:blipFill>
            <a:blip r:embed="rId5"/>
            <a:stretch>
              <a:fillRect/>
            </a:stretch>
          </a:blipFill>
        </p:spPr>
      </p:sp>
      <p:sp>
        <p:nvSpPr>
          <p:cNvPr id="7" name="Rectangle 6">
            <a:extLst>
              <a:ext uri="{FF2B5EF4-FFF2-40B4-BE49-F238E27FC236}">
                <a16:creationId xmlns:a16="http://schemas.microsoft.com/office/drawing/2014/main" id="{3ED5588C-AD05-4698-B547-E1F544E9DB54}"/>
              </a:ext>
            </a:extLst>
          </p:cNvPr>
          <p:cNvSpPr/>
          <p:nvPr/>
        </p:nvSpPr>
        <p:spPr>
          <a:xfrm>
            <a:off x="11715836" y="6211669"/>
            <a:ext cx="418704" cy="646331"/>
          </a:xfrm>
          <a:prstGeom prst="rect">
            <a:avLst/>
          </a:prstGeom>
        </p:spPr>
        <p:txBody>
          <a:bodyPr wrap="none">
            <a:spAutoFit/>
          </a:bodyPr>
          <a:lstStyle/>
          <a:p>
            <a:r>
              <a:rPr lang="en-US" sz="36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6</a:t>
            </a:r>
            <a:endParaRPr lang="fr-TN" sz="3600" dirty="0"/>
          </a:p>
        </p:txBody>
      </p:sp>
    </p:spTree>
    <p:extLst>
      <p:ext uri="{BB962C8B-B14F-4D97-AF65-F5344CB8AC3E}">
        <p14:creationId xmlns:p14="http://schemas.microsoft.com/office/powerpoint/2010/main" val="31628855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F3F76E-4707-A42E-C0E0-14D0C93A5155}"/>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33B09F8B-088D-0C40-5636-5F790B0712F9}"/>
              </a:ext>
            </a:extLst>
          </p:cNvPr>
          <p:cNvSpPr>
            <a:spLocks noGrp="1"/>
          </p:cNvSpPr>
          <p:nvPr/>
        </p:nvSpPr>
        <p:spPr>
          <a:xfrm>
            <a:off x="668980" y="436486"/>
            <a:ext cx="11353800" cy="739056"/>
          </a:xfrm>
          <a:prstGeom prst="rect">
            <a:avLst/>
          </a:prstGeom>
        </p:spPr>
        <p:txBody>
          <a:bodyPr rIns="0">
            <a:normAutofit/>
          </a:bodyPr>
          <a:lstStyle>
            <a:lvl1pPr algn="l" defTabSz="914400" rtl="0" eaLnBrk="1" latinLnBrk="0" hangingPunct="1">
              <a:lnSpc>
                <a:spcPct val="90000"/>
              </a:lnSpc>
              <a:spcBef>
                <a:spcPct val="0"/>
              </a:spcBef>
              <a:buNone/>
              <a:defRPr lang="en-US" sz="3600" b="1" kern="1200">
                <a:solidFill>
                  <a:schemeClr val="tx1"/>
                </a:solidFill>
                <a:latin typeface="Helvetica" panose="020B0500000000000000" pitchFamily="34" charset="0"/>
                <a:ea typeface="+mj-ea"/>
                <a:cs typeface="+mj-cs"/>
              </a:defRPr>
            </a:lvl1pPr>
          </a:lstStyle>
          <a:p>
            <a:endParaRPr lang="en-US" dirty="0"/>
          </a:p>
        </p:txBody>
      </p:sp>
      <p:sp>
        <p:nvSpPr>
          <p:cNvPr id="47" name="TextBox 1">
            <a:extLst>
              <a:ext uri="{FF2B5EF4-FFF2-40B4-BE49-F238E27FC236}">
                <a16:creationId xmlns:a16="http://schemas.microsoft.com/office/drawing/2014/main" id="{228D5279-3CD7-4D56-3250-7E9DF49FC937}"/>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sp>
        <p:nvSpPr>
          <p:cNvPr id="48" name="TextBox 3">
            <a:extLst>
              <a:ext uri="{FF2B5EF4-FFF2-40B4-BE49-F238E27FC236}">
                <a16:creationId xmlns:a16="http://schemas.microsoft.com/office/drawing/2014/main" id="{7E8B365F-2F33-BECF-76EF-29727651E362}"/>
              </a:ext>
            </a:extLst>
          </p:cNvPr>
          <p:cNvSpPr txBox="1"/>
          <p:nvPr/>
        </p:nvSpPr>
        <p:spPr>
          <a:xfrm>
            <a:off x="880404" y="404101"/>
            <a:ext cx="237244"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de</a:t>
            </a:r>
          </a:p>
        </p:txBody>
      </p:sp>
      <p:sp>
        <p:nvSpPr>
          <p:cNvPr id="49" name="TextBox 30">
            <a:extLst>
              <a:ext uri="{FF2B5EF4-FFF2-40B4-BE49-F238E27FC236}">
                <a16:creationId xmlns:a16="http://schemas.microsoft.com/office/drawing/2014/main" id="{443BC25D-81A6-5BEA-635C-EF53321EFE85}"/>
              </a:ext>
            </a:extLst>
          </p:cNvPr>
          <p:cNvSpPr txBox="1"/>
          <p:nvPr/>
        </p:nvSpPr>
        <p:spPr>
          <a:xfrm>
            <a:off x="1171948" y="404101"/>
            <a:ext cx="722955"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lang="en-US" kern="0" dirty="0">
                <a:solidFill>
                  <a:prstClr val="white"/>
                </a:solidFill>
                <a:latin typeface="Darker Grotesque" pitchFamily="2" charset="0"/>
              </a:rPr>
              <a:t>Marché</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grpSp>
        <p:nvGrpSpPr>
          <p:cNvPr id="50" name="Group 44">
            <a:extLst>
              <a:ext uri="{FF2B5EF4-FFF2-40B4-BE49-F238E27FC236}">
                <a16:creationId xmlns:a16="http://schemas.microsoft.com/office/drawing/2014/main" id="{FFF0E145-D927-7003-21DC-79A2C3F7F464}"/>
              </a:ext>
            </a:extLst>
          </p:cNvPr>
          <p:cNvGrpSpPr/>
          <p:nvPr/>
        </p:nvGrpSpPr>
        <p:grpSpPr>
          <a:xfrm>
            <a:off x="234547" y="587920"/>
            <a:ext cx="11709360" cy="1463617"/>
            <a:chOff x="234547" y="623779"/>
            <a:chExt cx="11709360" cy="1463617"/>
          </a:xfrm>
        </p:grpSpPr>
        <p:cxnSp>
          <p:nvCxnSpPr>
            <p:cNvPr id="51" name="Straight Connector 9">
              <a:extLst>
                <a:ext uri="{FF2B5EF4-FFF2-40B4-BE49-F238E27FC236}">
                  <a16:creationId xmlns:a16="http://schemas.microsoft.com/office/drawing/2014/main" id="{2477D312-0B6C-6677-A487-CB934FF372A0}"/>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53" name="TextBox 20">
              <a:extLst>
                <a:ext uri="{FF2B5EF4-FFF2-40B4-BE49-F238E27FC236}">
                  <a16:creationId xmlns:a16="http://schemas.microsoft.com/office/drawing/2014/main" id="{2697DDE3-5056-021C-0122-C93371D8FC4D}"/>
                </a:ext>
              </a:extLst>
            </p:cNvPr>
            <p:cNvSpPr txBox="1"/>
            <p:nvPr/>
          </p:nvSpPr>
          <p:spPr>
            <a:xfrm>
              <a:off x="234547" y="1056986"/>
              <a:ext cx="8873358" cy="1030410"/>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4800" dirty="0">
                  <a:sym typeface="DM Sans"/>
                </a:rPr>
                <a:t>Concurrent potentiel</a:t>
              </a:r>
            </a:p>
            <a:p>
              <a:endParaRPr lang="en-GB" sz="4800" dirty="0"/>
            </a:p>
          </p:txBody>
        </p:sp>
      </p:grpSp>
      <p:sp>
        <p:nvSpPr>
          <p:cNvPr id="2" name="Oval 25">
            <a:extLst>
              <a:ext uri="{FF2B5EF4-FFF2-40B4-BE49-F238E27FC236}">
                <a16:creationId xmlns:a16="http://schemas.microsoft.com/office/drawing/2014/main" id="{B3466E44-DD4A-A22C-2A13-393D724C56C4}"/>
              </a:ext>
            </a:extLst>
          </p:cNvPr>
          <p:cNvSpPr/>
          <p:nvPr/>
        </p:nvSpPr>
        <p:spPr>
          <a:xfrm>
            <a:off x="5842207" y="369986"/>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4" name="Graphic 26">
            <a:extLst>
              <a:ext uri="{FF2B5EF4-FFF2-40B4-BE49-F238E27FC236}">
                <a16:creationId xmlns:a16="http://schemas.microsoft.com/office/drawing/2014/main" id="{60394FBE-DC06-E734-B4C5-5E2B09D04030}"/>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970000" y="497779"/>
            <a:ext cx="252000" cy="252000"/>
          </a:xfrm>
          <a:prstGeom prst="rect">
            <a:avLst/>
          </a:prstGeom>
        </p:spPr>
      </p:pic>
      <p:grpSp>
        <p:nvGrpSpPr>
          <p:cNvPr id="5" name="Group 2">
            <a:extLst>
              <a:ext uri="{FF2B5EF4-FFF2-40B4-BE49-F238E27FC236}">
                <a16:creationId xmlns:a16="http://schemas.microsoft.com/office/drawing/2014/main" id="{57FAB708-F113-7819-234A-A6E36A50EAC4}"/>
              </a:ext>
            </a:extLst>
          </p:cNvPr>
          <p:cNvGrpSpPr/>
          <p:nvPr/>
        </p:nvGrpSpPr>
        <p:grpSpPr>
          <a:xfrm>
            <a:off x="601264" y="2051537"/>
            <a:ext cx="11098046" cy="3909457"/>
            <a:chOff x="0" y="0"/>
            <a:chExt cx="14701054" cy="5213537"/>
          </a:xfrm>
        </p:grpSpPr>
        <p:sp>
          <p:nvSpPr>
            <p:cNvPr id="22" name="Freeform 3">
              <a:extLst>
                <a:ext uri="{FF2B5EF4-FFF2-40B4-BE49-F238E27FC236}">
                  <a16:creationId xmlns:a16="http://schemas.microsoft.com/office/drawing/2014/main" id="{3052CFAE-2F66-37F9-A0BC-D7E3C5888E06}"/>
                </a:ext>
              </a:extLst>
            </p:cNvPr>
            <p:cNvSpPr/>
            <p:nvPr/>
          </p:nvSpPr>
          <p:spPr>
            <a:xfrm>
              <a:off x="0" y="0"/>
              <a:ext cx="14701055" cy="5213538"/>
            </a:xfrm>
            <a:custGeom>
              <a:avLst/>
              <a:gdLst/>
              <a:ahLst/>
              <a:cxnLst/>
              <a:rect l="l" t="t" r="r" b="b"/>
              <a:pathLst>
                <a:path w="14701055" h="5213538">
                  <a:moveTo>
                    <a:pt x="14576594" y="5213537"/>
                  </a:moveTo>
                  <a:lnTo>
                    <a:pt x="124460" y="5213537"/>
                  </a:lnTo>
                  <a:cubicBezTo>
                    <a:pt x="55880" y="5213537"/>
                    <a:pt x="0" y="5157657"/>
                    <a:pt x="0" y="5089077"/>
                  </a:cubicBezTo>
                  <a:lnTo>
                    <a:pt x="0" y="124460"/>
                  </a:lnTo>
                  <a:cubicBezTo>
                    <a:pt x="0" y="55880"/>
                    <a:pt x="55880" y="0"/>
                    <a:pt x="124460" y="0"/>
                  </a:cubicBezTo>
                  <a:lnTo>
                    <a:pt x="14576594" y="0"/>
                  </a:lnTo>
                  <a:cubicBezTo>
                    <a:pt x="14645174" y="0"/>
                    <a:pt x="14701055" y="55880"/>
                    <a:pt x="14701055" y="124460"/>
                  </a:cubicBezTo>
                  <a:lnTo>
                    <a:pt x="14701055" y="5089077"/>
                  </a:lnTo>
                  <a:cubicBezTo>
                    <a:pt x="14701055" y="5157657"/>
                    <a:pt x="14645174" y="5213538"/>
                    <a:pt x="14576594" y="5213538"/>
                  </a:cubicBezTo>
                  <a:close/>
                </a:path>
              </a:pathLst>
            </a:custGeom>
            <a:solidFill>
              <a:srgbClr val="EDF0F2">
                <a:alpha val="60000"/>
              </a:srgbClr>
            </a:solidFill>
          </p:spPr>
        </p:sp>
      </p:grpSp>
      <p:sp>
        <p:nvSpPr>
          <p:cNvPr id="30" name="TextBox 9">
            <a:extLst>
              <a:ext uri="{FF2B5EF4-FFF2-40B4-BE49-F238E27FC236}">
                <a16:creationId xmlns:a16="http://schemas.microsoft.com/office/drawing/2014/main" id="{7910313A-FDA3-563F-082E-761A60C7D4EE}"/>
              </a:ext>
            </a:extLst>
          </p:cNvPr>
          <p:cNvSpPr txBox="1"/>
          <p:nvPr/>
        </p:nvSpPr>
        <p:spPr>
          <a:xfrm>
            <a:off x="935088" y="2210212"/>
            <a:ext cx="3817310" cy="784574"/>
          </a:xfrm>
          <a:prstGeom prst="rect">
            <a:avLst/>
          </a:prstGeom>
        </p:spPr>
        <p:txBody>
          <a:bodyPr wrap="square" lIns="0" tIns="0" rIns="0" bIns="0" rtlCol="0" anchor="t">
            <a:spAutoFit/>
          </a:bodyPr>
          <a:lstStyle/>
          <a:p>
            <a:pPr marL="0" lvl="0" indent="0" algn="ctr">
              <a:lnSpc>
                <a:spcPts val="6719"/>
              </a:lnSpc>
              <a:spcBef>
                <a:spcPct val="0"/>
              </a:spcBef>
            </a:pPr>
            <a:r>
              <a:rPr lang="en-US" sz="4800" b="1" spc="-48" dirty="0">
                <a:solidFill>
                  <a:schemeClr val="bg1"/>
                </a:solidFill>
                <a:latin typeface="DM Sans Bold"/>
                <a:ea typeface="DM Sans Bold"/>
                <a:cs typeface="DM Sans Bold"/>
                <a:sym typeface="DM Sans Bold"/>
              </a:rPr>
              <a:t>Airbnb</a:t>
            </a:r>
          </a:p>
        </p:txBody>
      </p:sp>
      <p:sp>
        <p:nvSpPr>
          <p:cNvPr id="35" name="Rectangle 1">
            <a:extLst>
              <a:ext uri="{FF2B5EF4-FFF2-40B4-BE49-F238E27FC236}">
                <a16:creationId xmlns:a16="http://schemas.microsoft.com/office/drawing/2014/main" id="{86614EC0-6095-7A4A-652B-09496FED6D95}"/>
              </a:ext>
            </a:extLst>
          </p:cNvPr>
          <p:cNvSpPr>
            <a:spLocks noChangeArrowheads="1"/>
          </p:cNvSpPr>
          <p:nvPr/>
        </p:nvSpPr>
        <p:spPr bwMode="auto">
          <a:xfrm>
            <a:off x="601264" y="5770971"/>
            <a:ext cx="11098047"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fr-FR" altLang="fr-FR" sz="3600" b="0" i="0" u="none" strike="noStrike" cap="none" normalizeH="0" baseline="0" dirty="0">
              <a:ln>
                <a:noFill/>
              </a:ln>
              <a:solidFill>
                <a:schemeClr val="bg1"/>
              </a:solidFill>
              <a:effectLst/>
              <a:latin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fr-FR" altLang="fr-FR" sz="3600" b="0" i="0" u="none" strike="noStrike" cap="none" normalizeH="0" baseline="0" dirty="0">
              <a:ln>
                <a:noFill/>
              </a:ln>
              <a:solidFill>
                <a:schemeClr val="bg1"/>
              </a:solidFill>
              <a:effectLst/>
              <a:latin typeface="Arial" panose="020B0604020202020204" pitchFamily="34" charset="0"/>
            </a:endParaRPr>
          </a:p>
        </p:txBody>
      </p:sp>
      <p:sp>
        <p:nvSpPr>
          <p:cNvPr id="19" name="TextBox 9">
            <a:extLst>
              <a:ext uri="{FF2B5EF4-FFF2-40B4-BE49-F238E27FC236}">
                <a16:creationId xmlns:a16="http://schemas.microsoft.com/office/drawing/2014/main" id="{D5108DE5-18D9-45EB-B7F1-D04C32FDCC49}"/>
              </a:ext>
            </a:extLst>
          </p:cNvPr>
          <p:cNvSpPr txBox="1"/>
          <p:nvPr/>
        </p:nvSpPr>
        <p:spPr>
          <a:xfrm>
            <a:off x="6826084" y="2155774"/>
            <a:ext cx="3817310" cy="790986"/>
          </a:xfrm>
          <a:prstGeom prst="rect">
            <a:avLst/>
          </a:prstGeom>
        </p:spPr>
        <p:txBody>
          <a:bodyPr wrap="square" lIns="0" tIns="0" rIns="0" bIns="0" rtlCol="0" anchor="t">
            <a:spAutoFit/>
          </a:bodyPr>
          <a:lstStyle/>
          <a:p>
            <a:pPr marL="0" lvl="0" indent="0" algn="ctr">
              <a:lnSpc>
                <a:spcPts val="6719"/>
              </a:lnSpc>
              <a:spcBef>
                <a:spcPct val="0"/>
              </a:spcBef>
            </a:pPr>
            <a:r>
              <a:rPr lang="en-US" sz="4000" b="1" spc="-48" dirty="0">
                <a:solidFill>
                  <a:schemeClr val="bg1"/>
                </a:solidFill>
                <a:latin typeface="DM Sans Bold"/>
                <a:ea typeface="DM Sans Bold"/>
                <a:cs typeface="DM Sans Bold"/>
                <a:sym typeface="DM Sans Bold"/>
              </a:rPr>
              <a:t>TunisieBooking</a:t>
            </a:r>
          </a:p>
        </p:txBody>
      </p:sp>
      <p:sp>
        <p:nvSpPr>
          <p:cNvPr id="6" name="Rectangle 1">
            <a:extLst>
              <a:ext uri="{FF2B5EF4-FFF2-40B4-BE49-F238E27FC236}">
                <a16:creationId xmlns:a16="http://schemas.microsoft.com/office/drawing/2014/main" id="{21264CC1-05C3-41B5-BB61-1622251883C9}"/>
              </a:ext>
            </a:extLst>
          </p:cNvPr>
          <p:cNvSpPr>
            <a:spLocks noChangeArrowheads="1"/>
          </p:cNvSpPr>
          <p:nvPr/>
        </p:nvSpPr>
        <p:spPr bwMode="auto">
          <a:xfrm>
            <a:off x="935088" y="3475338"/>
            <a:ext cx="4907119" cy="1754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fr-TN" altLang="fr-TN" sz="1800" b="1" i="0" u="none" strike="noStrike" cap="none" normalizeH="0" baseline="0" dirty="0">
                <a:ln>
                  <a:noFill/>
                </a:ln>
                <a:solidFill>
                  <a:schemeClr val="bg1"/>
                </a:solidFill>
                <a:effectLst/>
                <a:latin typeface="Arial" panose="020B0604020202020204" pitchFamily="34" charset="0"/>
              </a:rPr>
              <a:t>Plateforme internationale de location de logements entre particulier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fr-TN" altLang="fr-TN" sz="1800" b="1" i="0" u="none" strike="noStrike" cap="none" normalizeH="0" baseline="0" dirty="0">
                <a:ln>
                  <a:noFill/>
                </a:ln>
                <a:solidFill>
                  <a:schemeClr val="bg1"/>
                </a:solidFill>
                <a:effectLst/>
                <a:latin typeface="Arial" panose="020B0604020202020204" pitchFamily="34" charset="0"/>
              </a:rPr>
              <a:t>Très forte notoriété mondiale, interface intuitive, large choix d’hébergement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fr-TN" altLang="fr-TN" sz="1800" b="1" i="0" u="none" strike="noStrike" cap="none" normalizeH="0" baseline="0" dirty="0">
                <a:ln>
                  <a:noFill/>
                </a:ln>
                <a:solidFill>
                  <a:schemeClr val="bg1"/>
                </a:solidFill>
                <a:effectLst/>
                <a:latin typeface="Arial" panose="020B0604020202020204" pitchFamily="34" charset="0"/>
              </a:rPr>
              <a:t>Peu voire pas d’offres balnéaires en Tunisie, et frais de service élevés.</a:t>
            </a:r>
          </a:p>
        </p:txBody>
      </p:sp>
      <p:sp>
        <p:nvSpPr>
          <p:cNvPr id="7" name="Rectangle 2">
            <a:extLst>
              <a:ext uri="{FF2B5EF4-FFF2-40B4-BE49-F238E27FC236}">
                <a16:creationId xmlns:a16="http://schemas.microsoft.com/office/drawing/2014/main" id="{7A6181C4-C155-49FF-BFDE-953514EB4D6A}"/>
              </a:ext>
            </a:extLst>
          </p:cNvPr>
          <p:cNvSpPr>
            <a:spLocks noChangeArrowheads="1"/>
          </p:cNvSpPr>
          <p:nvPr/>
        </p:nvSpPr>
        <p:spPr bwMode="auto">
          <a:xfrm>
            <a:off x="6675120" y="3301648"/>
            <a:ext cx="4663623" cy="203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fr-TN" altLang="fr-TN" sz="1800" b="1" i="0" u="none" strike="noStrike" cap="none" normalizeH="0" baseline="0" dirty="0">
                <a:ln>
                  <a:noFill/>
                </a:ln>
                <a:solidFill>
                  <a:schemeClr val="bg1"/>
                </a:solidFill>
                <a:effectLst/>
                <a:latin typeface="Arial" panose="020B0604020202020204" pitchFamily="34" charset="0"/>
              </a:rPr>
              <a:t>Réservation d’hôtels classiques en Tunisie.</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fr-TN" altLang="fr-TN" sz="1800" b="1" i="0" u="none" strike="noStrike" cap="none" normalizeH="0" baseline="0" dirty="0">
                <a:ln>
                  <a:noFill/>
                </a:ln>
                <a:solidFill>
                  <a:schemeClr val="bg1"/>
                </a:solidFill>
                <a:effectLst/>
                <a:latin typeface="Arial" panose="020B0604020202020204" pitchFamily="34" charset="0"/>
              </a:rPr>
              <a:t>Présence locale forte et bon accompagnement client.</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fr-TN" altLang="fr-TN" sz="1800" b="1" i="0" u="none" strike="noStrike" cap="none" normalizeH="0" baseline="0" dirty="0">
                <a:ln>
                  <a:noFill/>
                </a:ln>
                <a:solidFill>
                  <a:schemeClr val="bg1"/>
                </a:solidFill>
                <a:effectLst/>
                <a:latin typeface="Arial" panose="020B0604020202020204" pitchFamily="34" charset="0"/>
              </a:rPr>
              <a:t>Interface peu moderne et offre limitée aux hôtels standards, sans options originales.</a:t>
            </a:r>
          </a:p>
        </p:txBody>
      </p:sp>
      <p:sp>
        <p:nvSpPr>
          <p:cNvPr id="9" name="Rectangle 8">
            <a:extLst>
              <a:ext uri="{FF2B5EF4-FFF2-40B4-BE49-F238E27FC236}">
                <a16:creationId xmlns:a16="http://schemas.microsoft.com/office/drawing/2014/main" id="{9E71E314-3E13-40B2-B337-F23A73583612}"/>
              </a:ext>
            </a:extLst>
          </p:cNvPr>
          <p:cNvSpPr/>
          <p:nvPr/>
        </p:nvSpPr>
        <p:spPr>
          <a:xfrm>
            <a:off x="11653662" y="6179136"/>
            <a:ext cx="418704" cy="646331"/>
          </a:xfrm>
          <a:prstGeom prst="rect">
            <a:avLst/>
          </a:prstGeom>
        </p:spPr>
        <p:txBody>
          <a:bodyPr wrap="none">
            <a:spAutoFit/>
          </a:bodyPr>
          <a:lstStyle/>
          <a:p>
            <a:r>
              <a:rPr lang="en-US" sz="36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7</a:t>
            </a:r>
            <a:endParaRPr lang="fr-TN" sz="3600" dirty="0"/>
          </a:p>
        </p:txBody>
      </p:sp>
    </p:spTree>
    <p:extLst>
      <p:ext uri="{BB962C8B-B14F-4D97-AF65-F5344CB8AC3E}">
        <p14:creationId xmlns:p14="http://schemas.microsoft.com/office/powerpoint/2010/main" val="29215830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96C129-DFE2-A19B-5DEA-03FF6B079CBD}"/>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2D245EBE-287A-8737-2792-BD4AD2452695}"/>
              </a:ext>
            </a:extLst>
          </p:cNvPr>
          <p:cNvSpPr>
            <a:spLocks noGrp="1"/>
          </p:cNvSpPr>
          <p:nvPr/>
        </p:nvSpPr>
        <p:spPr>
          <a:xfrm>
            <a:off x="668980" y="436486"/>
            <a:ext cx="11353800" cy="739056"/>
          </a:xfrm>
          <a:prstGeom prst="rect">
            <a:avLst/>
          </a:prstGeom>
        </p:spPr>
        <p:txBody>
          <a:bodyPr rIns="0">
            <a:normAutofit/>
          </a:bodyPr>
          <a:lstStyle>
            <a:lvl1pPr algn="l" defTabSz="914400" rtl="0" eaLnBrk="1" latinLnBrk="0" hangingPunct="1">
              <a:lnSpc>
                <a:spcPct val="90000"/>
              </a:lnSpc>
              <a:spcBef>
                <a:spcPct val="0"/>
              </a:spcBef>
              <a:buNone/>
              <a:defRPr lang="en-US" sz="3600" b="1" kern="1200">
                <a:solidFill>
                  <a:schemeClr val="tx1"/>
                </a:solidFill>
                <a:latin typeface="Helvetica" panose="020B0500000000000000" pitchFamily="34" charset="0"/>
                <a:ea typeface="+mj-ea"/>
                <a:cs typeface="+mj-cs"/>
              </a:defRPr>
            </a:lvl1pPr>
          </a:lstStyle>
          <a:p>
            <a:endParaRPr lang="en-US" dirty="0"/>
          </a:p>
        </p:txBody>
      </p:sp>
      <p:sp>
        <p:nvSpPr>
          <p:cNvPr id="47" name="TextBox 1">
            <a:extLst>
              <a:ext uri="{FF2B5EF4-FFF2-40B4-BE49-F238E27FC236}">
                <a16:creationId xmlns:a16="http://schemas.microsoft.com/office/drawing/2014/main" id="{07D3824D-20EC-D93F-4471-D207B77FC204}"/>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sp>
        <p:nvSpPr>
          <p:cNvPr id="48" name="TextBox 3">
            <a:extLst>
              <a:ext uri="{FF2B5EF4-FFF2-40B4-BE49-F238E27FC236}">
                <a16:creationId xmlns:a16="http://schemas.microsoft.com/office/drawing/2014/main" id="{E3D7FC4E-418E-D14B-E7F4-01C5B5681C1F}"/>
              </a:ext>
            </a:extLst>
          </p:cNvPr>
          <p:cNvSpPr txBox="1"/>
          <p:nvPr/>
        </p:nvSpPr>
        <p:spPr>
          <a:xfrm>
            <a:off x="880404" y="404101"/>
            <a:ext cx="237244"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de</a:t>
            </a:r>
          </a:p>
        </p:txBody>
      </p:sp>
      <p:sp>
        <p:nvSpPr>
          <p:cNvPr id="49" name="TextBox 30">
            <a:extLst>
              <a:ext uri="{FF2B5EF4-FFF2-40B4-BE49-F238E27FC236}">
                <a16:creationId xmlns:a16="http://schemas.microsoft.com/office/drawing/2014/main" id="{6E9A6853-B1CA-802B-BAE1-EB1223EFCDC7}"/>
              </a:ext>
            </a:extLst>
          </p:cNvPr>
          <p:cNvSpPr txBox="1"/>
          <p:nvPr/>
        </p:nvSpPr>
        <p:spPr>
          <a:xfrm>
            <a:off x="1171948" y="404101"/>
            <a:ext cx="722955"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lang="en-US" kern="0" dirty="0">
                <a:solidFill>
                  <a:prstClr val="white"/>
                </a:solidFill>
                <a:latin typeface="Darker Grotesque" pitchFamily="2" charset="0"/>
              </a:rPr>
              <a:t>Marché</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grpSp>
        <p:nvGrpSpPr>
          <p:cNvPr id="50" name="Group 44">
            <a:extLst>
              <a:ext uri="{FF2B5EF4-FFF2-40B4-BE49-F238E27FC236}">
                <a16:creationId xmlns:a16="http://schemas.microsoft.com/office/drawing/2014/main" id="{16650B1C-97A1-9C19-574A-EBFFF0580712}"/>
              </a:ext>
            </a:extLst>
          </p:cNvPr>
          <p:cNvGrpSpPr/>
          <p:nvPr/>
        </p:nvGrpSpPr>
        <p:grpSpPr>
          <a:xfrm>
            <a:off x="169220" y="623779"/>
            <a:ext cx="11774687" cy="1410203"/>
            <a:chOff x="169220" y="623779"/>
            <a:chExt cx="11774687" cy="1410203"/>
          </a:xfrm>
        </p:grpSpPr>
        <p:cxnSp>
          <p:nvCxnSpPr>
            <p:cNvPr id="51" name="Straight Connector 9">
              <a:extLst>
                <a:ext uri="{FF2B5EF4-FFF2-40B4-BE49-F238E27FC236}">
                  <a16:creationId xmlns:a16="http://schemas.microsoft.com/office/drawing/2014/main" id="{0D2BF5BF-B9A3-AABB-B839-5A7845CE2B55}"/>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53" name="TextBox 20">
              <a:extLst>
                <a:ext uri="{FF2B5EF4-FFF2-40B4-BE49-F238E27FC236}">
                  <a16:creationId xmlns:a16="http://schemas.microsoft.com/office/drawing/2014/main" id="{D0968FBA-E9DB-9082-226C-D3F4DD0AEBEA}"/>
                </a:ext>
              </a:extLst>
            </p:cNvPr>
            <p:cNvSpPr txBox="1"/>
            <p:nvPr/>
          </p:nvSpPr>
          <p:spPr>
            <a:xfrm>
              <a:off x="169220" y="1003572"/>
              <a:ext cx="8873358" cy="1030410"/>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4800" dirty="0">
                  <a:sym typeface="DM Sans"/>
                </a:rPr>
                <a:t>Tableau benchmarking</a:t>
              </a:r>
            </a:p>
            <a:p>
              <a:endParaRPr lang="en-GB" sz="4800" dirty="0"/>
            </a:p>
          </p:txBody>
        </p:sp>
      </p:grpSp>
      <p:sp>
        <p:nvSpPr>
          <p:cNvPr id="2" name="Oval 25">
            <a:extLst>
              <a:ext uri="{FF2B5EF4-FFF2-40B4-BE49-F238E27FC236}">
                <a16:creationId xmlns:a16="http://schemas.microsoft.com/office/drawing/2014/main" id="{A17F935E-1CA0-7030-7244-9B92686EB462}"/>
              </a:ext>
            </a:extLst>
          </p:cNvPr>
          <p:cNvSpPr/>
          <p:nvPr/>
        </p:nvSpPr>
        <p:spPr>
          <a:xfrm>
            <a:off x="5842207" y="369986"/>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4" name="Graphic 26">
            <a:extLst>
              <a:ext uri="{FF2B5EF4-FFF2-40B4-BE49-F238E27FC236}">
                <a16:creationId xmlns:a16="http://schemas.microsoft.com/office/drawing/2014/main" id="{A49842EC-A8EC-75F7-25FD-873F7CDEA3CC}"/>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970000" y="497779"/>
            <a:ext cx="252000" cy="252000"/>
          </a:xfrm>
          <a:prstGeom prst="rect">
            <a:avLst/>
          </a:prstGeom>
        </p:spPr>
      </p:pic>
      <p:graphicFrame>
        <p:nvGraphicFramePr>
          <p:cNvPr id="11" name="Table 10">
            <a:extLst>
              <a:ext uri="{FF2B5EF4-FFF2-40B4-BE49-F238E27FC236}">
                <a16:creationId xmlns:a16="http://schemas.microsoft.com/office/drawing/2014/main" id="{F8E21024-D41E-4385-95D1-1462684B9922}"/>
              </a:ext>
            </a:extLst>
          </p:cNvPr>
          <p:cNvGraphicFramePr>
            <a:graphicFrameLocks noGrp="1"/>
          </p:cNvGraphicFramePr>
          <p:nvPr>
            <p:extLst>
              <p:ext uri="{D42A27DB-BD31-4B8C-83A1-F6EECF244321}">
                <p14:modId xmlns:p14="http://schemas.microsoft.com/office/powerpoint/2010/main" val="1513459212"/>
              </p:ext>
            </p:extLst>
          </p:nvPr>
        </p:nvGraphicFramePr>
        <p:xfrm>
          <a:off x="720537" y="1685364"/>
          <a:ext cx="10750925" cy="4975411"/>
        </p:xfrm>
        <a:graphic>
          <a:graphicData uri="http://schemas.openxmlformats.org/drawingml/2006/table">
            <a:tbl>
              <a:tblPr firstRow="1" bandRow="1">
                <a:tableStyleId>{5C22544A-7EE6-4342-B048-85BDC9FD1C3A}</a:tableStyleId>
              </a:tblPr>
              <a:tblGrid>
                <a:gridCol w="2150185">
                  <a:extLst>
                    <a:ext uri="{9D8B030D-6E8A-4147-A177-3AD203B41FA5}">
                      <a16:colId xmlns:a16="http://schemas.microsoft.com/office/drawing/2014/main" val="20000"/>
                    </a:ext>
                  </a:extLst>
                </a:gridCol>
                <a:gridCol w="2150185">
                  <a:extLst>
                    <a:ext uri="{9D8B030D-6E8A-4147-A177-3AD203B41FA5}">
                      <a16:colId xmlns:a16="http://schemas.microsoft.com/office/drawing/2014/main" val="20001"/>
                    </a:ext>
                  </a:extLst>
                </a:gridCol>
                <a:gridCol w="2150185">
                  <a:extLst>
                    <a:ext uri="{9D8B030D-6E8A-4147-A177-3AD203B41FA5}">
                      <a16:colId xmlns:a16="http://schemas.microsoft.com/office/drawing/2014/main" val="20002"/>
                    </a:ext>
                  </a:extLst>
                </a:gridCol>
                <a:gridCol w="2150185">
                  <a:extLst>
                    <a:ext uri="{9D8B030D-6E8A-4147-A177-3AD203B41FA5}">
                      <a16:colId xmlns:a16="http://schemas.microsoft.com/office/drawing/2014/main" val="20003"/>
                    </a:ext>
                  </a:extLst>
                </a:gridCol>
                <a:gridCol w="2150185">
                  <a:extLst>
                    <a:ext uri="{9D8B030D-6E8A-4147-A177-3AD203B41FA5}">
                      <a16:colId xmlns:a16="http://schemas.microsoft.com/office/drawing/2014/main" val="20004"/>
                    </a:ext>
                  </a:extLst>
                </a:gridCol>
              </a:tblGrid>
              <a:tr h="707404">
                <a:tc>
                  <a:txBody>
                    <a:bodyPr/>
                    <a:lstStyle/>
                    <a:p>
                      <a:pPr>
                        <a:defRPr sz="1100" b="1">
                          <a:solidFill>
                            <a:srgbClr val="000000"/>
                          </a:solidFill>
                        </a:defRPr>
                      </a:pPr>
                      <a:r>
                        <a:t>Concurrents</a:t>
                      </a:r>
                    </a:p>
                  </a:txBody>
                  <a:tcPr>
                    <a:solidFill>
                      <a:srgbClr val="C8DDF2"/>
                    </a:solidFill>
                  </a:tcPr>
                </a:tc>
                <a:tc>
                  <a:txBody>
                    <a:bodyPr/>
                    <a:lstStyle/>
                    <a:p>
                      <a:pPr>
                        <a:defRPr sz="1100" b="1">
                          <a:solidFill>
                            <a:srgbClr val="000000"/>
                          </a:solidFill>
                        </a:defRPr>
                      </a:pPr>
                      <a:r>
                        <a:t>Spécialité</a:t>
                      </a:r>
                    </a:p>
                  </a:txBody>
                  <a:tcPr>
                    <a:solidFill>
                      <a:srgbClr val="C8DDF2"/>
                    </a:solidFill>
                  </a:tcPr>
                </a:tc>
                <a:tc>
                  <a:txBody>
                    <a:bodyPr/>
                    <a:lstStyle/>
                    <a:p>
                      <a:pPr>
                        <a:defRPr sz="1100" b="1">
                          <a:solidFill>
                            <a:srgbClr val="000000"/>
                          </a:solidFill>
                        </a:defRPr>
                      </a:pPr>
                      <a:r>
                        <a:t>Points forts</a:t>
                      </a:r>
                    </a:p>
                  </a:txBody>
                  <a:tcPr>
                    <a:solidFill>
                      <a:srgbClr val="C8DDF2"/>
                    </a:solidFill>
                  </a:tcPr>
                </a:tc>
                <a:tc>
                  <a:txBody>
                    <a:bodyPr/>
                    <a:lstStyle/>
                    <a:p>
                      <a:pPr>
                        <a:defRPr sz="1100" b="1">
                          <a:solidFill>
                            <a:srgbClr val="000000"/>
                          </a:solidFill>
                        </a:defRPr>
                      </a:pPr>
                      <a:r>
                        <a:t>Limites</a:t>
                      </a:r>
                    </a:p>
                  </a:txBody>
                  <a:tcPr>
                    <a:solidFill>
                      <a:srgbClr val="C8DDF2"/>
                    </a:solidFill>
                  </a:tcPr>
                </a:tc>
                <a:tc>
                  <a:txBody>
                    <a:bodyPr/>
                    <a:lstStyle/>
                    <a:p>
                      <a:pPr>
                        <a:defRPr sz="1100" b="1">
                          <a:solidFill>
                            <a:srgbClr val="000000"/>
                          </a:solidFill>
                        </a:defRPr>
                      </a:pPr>
                      <a:r>
                        <a:t>Notre avantage (Cabinoo)</a:t>
                      </a:r>
                    </a:p>
                  </a:txBody>
                  <a:tcPr>
                    <a:solidFill>
                      <a:srgbClr val="C8DDF2"/>
                    </a:solidFill>
                  </a:tcPr>
                </a:tc>
                <a:extLst>
                  <a:ext uri="{0D108BD9-81ED-4DB2-BD59-A6C34878D82A}">
                    <a16:rowId xmlns:a16="http://schemas.microsoft.com/office/drawing/2014/main" val="10000"/>
                  </a:ext>
                </a:extLst>
              </a:tr>
              <a:tr h="707404">
                <a:tc>
                  <a:txBody>
                    <a:bodyPr/>
                    <a:lstStyle/>
                    <a:p>
                      <a:pPr>
                        <a:defRPr sz="1100">
                          <a:solidFill>
                            <a:srgbClr val="000000"/>
                          </a:solidFill>
                        </a:defRPr>
                      </a:pPr>
                      <a:r>
                        <a:t>Airbnb</a:t>
                      </a:r>
                    </a:p>
                  </a:txBody>
                  <a:tcPr/>
                </a:tc>
                <a:tc>
                  <a:txBody>
                    <a:bodyPr/>
                    <a:lstStyle/>
                    <a:p>
                      <a:pPr>
                        <a:defRPr sz="1100">
                          <a:solidFill>
                            <a:srgbClr val="000000"/>
                          </a:solidFill>
                        </a:defRPr>
                      </a:pPr>
                      <a:r>
                        <a:t>Hébergements variés internationaux</a:t>
                      </a:r>
                    </a:p>
                  </a:txBody>
                  <a:tcPr/>
                </a:tc>
                <a:tc>
                  <a:txBody>
                    <a:bodyPr/>
                    <a:lstStyle/>
                    <a:p>
                      <a:pPr>
                        <a:defRPr sz="1100">
                          <a:solidFill>
                            <a:srgbClr val="000000"/>
                          </a:solidFill>
                        </a:defRPr>
                      </a:pPr>
                      <a:r>
                        <a:t>Notoriété, interface intuitive, large choix</a:t>
                      </a:r>
                    </a:p>
                  </a:txBody>
                  <a:tcPr/>
                </a:tc>
                <a:tc>
                  <a:txBody>
                    <a:bodyPr/>
                    <a:lstStyle/>
                    <a:p>
                      <a:pPr>
                        <a:defRPr sz="1100">
                          <a:solidFill>
                            <a:srgbClr val="000000"/>
                          </a:solidFill>
                        </a:defRPr>
                      </a:pPr>
                      <a:r>
                        <a:t>Pas d’offres balnéaires en Tunisie, frais de service</a:t>
                      </a:r>
                    </a:p>
                  </a:txBody>
                  <a:tcPr/>
                </a:tc>
                <a:tc>
                  <a:txBody>
                    <a:bodyPr/>
                    <a:lstStyle/>
                    <a:p>
                      <a:pPr>
                        <a:defRPr sz="1100">
                          <a:solidFill>
                            <a:srgbClr val="000000"/>
                          </a:solidFill>
                        </a:defRPr>
                      </a:pPr>
                      <a:r>
                        <a:t>✅ Solution locale avec paiements flexibles</a:t>
                      </a:r>
                    </a:p>
                  </a:txBody>
                  <a:tcPr/>
                </a:tc>
                <a:extLst>
                  <a:ext uri="{0D108BD9-81ED-4DB2-BD59-A6C34878D82A}">
                    <a16:rowId xmlns:a16="http://schemas.microsoft.com/office/drawing/2014/main" val="10001"/>
                  </a:ext>
                </a:extLst>
              </a:tr>
              <a:tr h="707404">
                <a:tc>
                  <a:txBody>
                    <a:bodyPr/>
                    <a:lstStyle/>
                    <a:p>
                      <a:pPr>
                        <a:defRPr sz="1100">
                          <a:solidFill>
                            <a:srgbClr val="000000"/>
                          </a:solidFill>
                        </a:defRPr>
                      </a:pPr>
                      <a:r>
                        <a:t>Booking.com</a:t>
                      </a:r>
                    </a:p>
                  </a:txBody>
                  <a:tcPr/>
                </a:tc>
                <a:tc>
                  <a:txBody>
                    <a:bodyPr/>
                    <a:lstStyle/>
                    <a:p>
                      <a:pPr>
                        <a:defRPr sz="1100">
                          <a:solidFill>
                            <a:srgbClr val="000000"/>
                          </a:solidFill>
                        </a:defRPr>
                      </a:pPr>
                      <a:r>
                        <a:t>Réservations hôtelières mondiales</a:t>
                      </a:r>
                    </a:p>
                  </a:txBody>
                  <a:tcPr/>
                </a:tc>
                <a:tc>
                  <a:txBody>
                    <a:bodyPr/>
                    <a:lstStyle/>
                    <a:p>
                      <a:pPr>
                        <a:defRPr sz="1100">
                          <a:solidFill>
                            <a:srgbClr val="000000"/>
                          </a:solidFill>
                        </a:defRPr>
                      </a:pPr>
                      <a:r>
                        <a:t>Plateforme fiable, nombreux avis</a:t>
                      </a:r>
                    </a:p>
                  </a:txBody>
                  <a:tcPr/>
                </a:tc>
                <a:tc>
                  <a:txBody>
                    <a:bodyPr/>
                    <a:lstStyle/>
                    <a:p>
                      <a:pPr>
                        <a:defRPr sz="1100">
                          <a:solidFill>
                            <a:srgbClr val="000000"/>
                          </a:solidFill>
                        </a:defRPr>
                      </a:pPr>
                      <a:r>
                        <a:t>Peu d’alternatives locales en bord de mer tunisien</a:t>
                      </a:r>
                    </a:p>
                  </a:txBody>
                  <a:tcPr/>
                </a:tc>
                <a:tc>
                  <a:txBody>
                    <a:bodyPr/>
                    <a:lstStyle/>
                    <a:p>
                      <a:pPr>
                        <a:defRPr sz="1100">
                          <a:solidFill>
                            <a:srgbClr val="000000"/>
                          </a:solidFill>
                        </a:defRPr>
                      </a:pPr>
                      <a:r>
                        <a:t>✅ Commissions plus faibles et transparentes</a:t>
                      </a:r>
                    </a:p>
                  </a:txBody>
                  <a:tcPr/>
                </a:tc>
                <a:extLst>
                  <a:ext uri="{0D108BD9-81ED-4DB2-BD59-A6C34878D82A}">
                    <a16:rowId xmlns:a16="http://schemas.microsoft.com/office/drawing/2014/main" val="10002"/>
                  </a:ext>
                </a:extLst>
              </a:tr>
              <a:tr h="715265">
                <a:tc>
                  <a:txBody>
                    <a:bodyPr/>
                    <a:lstStyle/>
                    <a:p>
                      <a:pPr>
                        <a:defRPr sz="1100">
                          <a:solidFill>
                            <a:srgbClr val="000000"/>
                          </a:solidFill>
                        </a:defRPr>
                      </a:pPr>
                      <a:r>
                        <a:rPr dirty="0"/>
                        <a:t>TunisieBooking</a:t>
                      </a:r>
                    </a:p>
                  </a:txBody>
                  <a:tcPr/>
                </a:tc>
                <a:tc>
                  <a:txBody>
                    <a:bodyPr/>
                    <a:lstStyle/>
                    <a:p>
                      <a:pPr>
                        <a:defRPr sz="1100">
                          <a:solidFill>
                            <a:srgbClr val="000000"/>
                          </a:solidFill>
                        </a:defRPr>
                      </a:pPr>
                      <a:r>
                        <a:t>Hôtels classiques en Tunisie</a:t>
                      </a:r>
                    </a:p>
                  </a:txBody>
                  <a:tcPr/>
                </a:tc>
                <a:tc>
                  <a:txBody>
                    <a:bodyPr/>
                    <a:lstStyle/>
                    <a:p>
                      <a:pPr>
                        <a:defRPr sz="1100">
                          <a:solidFill>
                            <a:srgbClr val="000000"/>
                          </a:solidFill>
                        </a:defRPr>
                      </a:pPr>
                      <a:r>
                        <a:t>Présence locale, support client</a:t>
                      </a:r>
                    </a:p>
                  </a:txBody>
                  <a:tcPr/>
                </a:tc>
                <a:tc>
                  <a:txBody>
                    <a:bodyPr/>
                    <a:lstStyle/>
                    <a:p>
                      <a:pPr>
                        <a:defRPr sz="1100">
                          <a:solidFill>
                            <a:srgbClr val="000000"/>
                          </a:solidFill>
                        </a:defRPr>
                      </a:pPr>
                      <a:r>
                        <a:t>Offre limitée aux hôtels standards</a:t>
                      </a:r>
                    </a:p>
                  </a:txBody>
                  <a:tcPr/>
                </a:tc>
                <a:tc>
                  <a:txBody>
                    <a:bodyPr/>
                    <a:lstStyle/>
                    <a:p>
                      <a:pPr>
                        <a:defRPr sz="1100">
                          <a:solidFill>
                            <a:srgbClr val="000000"/>
                          </a:solidFill>
                        </a:defRPr>
                      </a:pPr>
                      <a:r>
                        <a:t>✅ Plateforme dédiée aux cabanes &amp; loisirs nautiques</a:t>
                      </a:r>
                    </a:p>
                  </a:txBody>
                  <a:tcPr/>
                </a:tc>
                <a:extLst>
                  <a:ext uri="{0D108BD9-81ED-4DB2-BD59-A6C34878D82A}">
                    <a16:rowId xmlns:a16="http://schemas.microsoft.com/office/drawing/2014/main" val="10003"/>
                  </a:ext>
                </a:extLst>
              </a:tr>
              <a:tr h="715265">
                <a:tc>
                  <a:txBody>
                    <a:bodyPr/>
                    <a:lstStyle/>
                    <a:p>
                      <a:pPr>
                        <a:defRPr sz="1100">
                          <a:solidFill>
                            <a:srgbClr val="000000"/>
                          </a:solidFill>
                        </a:defRPr>
                      </a:pPr>
                      <a:r>
                        <a:t>TravelToDo</a:t>
                      </a:r>
                    </a:p>
                  </a:txBody>
                  <a:tcPr/>
                </a:tc>
                <a:tc>
                  <a:txBody>
                    <a:bodyPr/>
                    <a:lstStyle/>
                    <a:p>
                      <a:pPr>
                        <a:defRPr sz="1100">
                          <a:solidFill>
                            <a:srgbClr val="000000"/>
                          </a:solidFill>
                        </a:defRPr>
                      </a:pPr>
                      <a:r>
                        <a:t>Voyages organisés classiques</a:t>
                      </a:r>
                    </a:p>
                  </a:txBody>
                  <a:tcPr/>
                </a:tc>
                <a:tc>
                  <a:txBody>
                    <a:bodyPr/>
                    <a:lstStyle/>
                    <a:p>
                      <a:pPr>
                        <a:defRPr sz="1100">
                          <a:solidFill>
                            <a:srgbClr val="000000"/>
                          </a:solidFill>
                        </a:defRPr>
                      </a:pPr>
                      <a:r>
                        <a:t>Réseau national, concepts récents</a:t>
                      </a:r>
                    </a:p>
                  </a:txBody>
                  <a:tcPr/>
                </a:tc>
                <a:tc>
                  <a:txBody>
                    <a:bodyPr/>
                    <a:lstStyle/>
                    <a:p>
                      <a:pPr>
                        <a:defRPr sz="1100">
                          <a:solidFill>
                            <a:srgbClr val="000000"/>
                          </a:solidFill>
                        </a:defRPr>
                      </a:pPr>
                      <a:r>
                        <a:t>Peu d’offres côté mer/aventure</a:t>
                      </a:r>
                    </a:p>
                  </a:txBody>
                  <a:tcPr/>
                </a:tc>
                <a:tc>
                  <a:txBody>
                    <a:bodyPr/>
                    <a:lstStyle/>
                    <a:p>
                      <a:pPr>
                        <a:defRPr sz="1100">
                          <a:solidFill>
                            <a:srgbClr val="000000"/>
                          </a:solidFill>
                        </a:defRPr>
                      </a:pPr>
                      <a:r>
                        <a:rPr dirty="0"/>
                        <a:t>✅ </a:t>
                      </a:r>
                      <a:r>
                        <a:rPr dirty="0" err="1"/>
                        <a:t>Expérience</a:t>
                      </a:r>
                      <a:r>
                        <a:rPr dirty="0"/>
                        <a:t> immersive </a:t>
                      </a:r>
                      <a:r>
                        <a:rPr dirty="0" err="1"/>
                        <a:t>côté</a:t>
                      </a:r>
                      <a:r>
                        <a:rPr dirty="0"/>
                        <a:t> </a:t>
                      </a:r>
                      <a:r>
                        <a:rPr dirty="0" err="1"/>
                        <a:t>mer</a:t>
                      </a:r>
                      <a:r>
                        <a:rPr dirty="0"/>
                        <a:t> &amp; activités</a:t>
                      </a:r>
                    </a:p>
                  </a:txBody>
                  <a:tcPr/>
                </a:tc>
                <a:extLst>
                  <a:ext uri="{0D108BD9-81ED-4DB2-BD59-A6C34878D82A}">
                    <a16:rowId xmlns:a16="http://schemas.microsoft.com/office/drawing/2014/main" val="10004"/>
                  </a:ext>
                </a:extLst>
              </a:tr>
              <a:tr h="707404">
                <a:tc>
                  <a:txBody>
                    <a:bodyPr/>
                    <a:lstStyle/>
                    <a:p>
                      <a:pPr>
                        <a:defRPr sz="1100">
                          <a:solidFill>
                            <a:srgbClr val="000000"/>
                          </a:solidFill>
                        </a:defRPr>
                      </a:pPr>
                      <a:r>
                        <a:t>Promovacances</a:t>
                      </a:r>
                    </a:p>
                  </a:txBody>
                  <a:tcPr/>
                </a:tc>
                <a:tc>
                  <a:txBody>
                    <a:bodyPr/>
                    <a:lstStyle/>
                    <a:p>
                      <a:pPr>
                        <a:defRPr sz="1100">
                          <a:solidFill>
                            <a:srgbClr val="000000"/>
                          </a:solidFill>
                        </a:defRPr>
                      </a:pPr>
                      <a:r>
                        <a:t>Voyages à petit prix</a:t>
                      </a:r>
                    </a:p>
                  </a:txBody>
                  <a:tcPr/>
                </a:tc>
                <a:tc>
                  <a:txBody>
                    <a:bodyPr/>
                    <a:lstStyle/>
                    <a:p>
                      <a:pPr>
                        <a:defRPr sz="1100">
                          <a:solidFill>
                            <a:srgbClr val="000000"/>
                          </a:solidFill>
                        </a:defRPr>
                      </a:pPr>
                      <a:r>
                        <a:t>Simplicité, prix attractifs</a:t>
                      </a:r>
                    </a:p>
                  </a:txBody>
                  <a:tcPr/>
                </a:tc>
                <a:tc>
                  <a:txBody>
                    <a:bodyPr/>
                    <a:lstStyle/>
                    <a:p>
                      <a:pPr>
                        <a:defRPr sz="1100">
                          <a:solidFill>
                            <a:srgbClr val="000000"/>
                          </a:solidFill>
                        </a:defRPr>
                      </a:pPr>
                      <a:r>
                        <a:t>Spécialisé dans les offres classiques</a:t>
                      </a:r>
                    </a:p>
                  </a:txBody>
                  <a:tcPr/>
                </a:tc>
                <a:tc>
                  <a:txBody>
                    <a:bodyPr/>
                    <a:lstStyle/>
                    <a:p>
                      <a:pPr>
                        <a:defRPr sz="1100">
                          <a:solidFill>
                            <a:srgbClr val="000000"/>
                          </a:solidFill>
                        </a:defRPr>
                      </a:pPr>
                      <a:r>
                        <a:t>✅ Paiements locaux adaptés et ciblage précis</a:t>
                      </a:r>
                    </a:p>
                  </a:txBody>
                  <a:tcPr/>
                </a:tc>
                <a:extLst>
                  <a:ext uri="{0D108BD9-81ED-4DB2-BD59-A6C34878D82A}">
                    <a16:rowId xmlns:a16="http://schemas.microsoft.com/office/drawing/2014/main" val="10005"/>
                  </a:ext>
                </a:extLst>
              </a:tr>
              <a:tr h="715265">
                <a:tc>
                  <a:txBody>
                    <a:bodyPr/>
                    <a:lstStyle/>
                    <a:p>
                      <a:pPr>
                        <a:defRPr sz="1100">
                          <a:solidFill>
                            <a:srgbClr val="000000"/>
                          </a:solidFill>
                        </a:defRPr>
                      </a:pPr>
                      <a:r>
                        <a:rPr dirty="0" err="1"/>
                        <a:t>TuniBoat</a:t>
                      </a:r>
                      <a:endParaRPr dirty="0"/>
                    </a:p>
                  </a:txBody>
                  <a:tcPr/>
                </a:tc>
                <a:tc>
                  <a:txBody>
                    <a:bodyPr/>
                    <a:lstStyle/>
                    <a:p>
                      <a:pPr>
                        <a:defRPr sz="1100">
                          <a:solidFill>
                            <a:srgbClr val="000000"/>
                          </a:solidFill>
                        </a:defRPr>
                      </a:pPr>
                      <a:r>
                        <a:t>Location de bateaux</a:t>
                      </a:r>
                    </a:p>
                  </a:txBody>
                  <a:tcPr/>
                </a:tc>
                <a:tc>
                  <a:txBody>
                    <a:bodyPr/>
                    <a:lstStyle/>
                    <a:p>
                      <a:pPr>
                        <a:defRPr sz="1100">
                          <a:solidFill>
                            <a:srgbClr val="000000"/>
                          </a:solidFill>
                        </a:defRPr>
                      </a:pPr>
                      <a:r>
                        <a:t>Spécialiste nautisme, ports variés</a:t>
                      </a:r>
                    </a:p>
                  </a:txBody>
                  <a:tcPr/>
                </a:tc>
                <a:tc>
                  <a:txBody>
                    <a:bodyPr/>
                    <a:lstStyle/>
                    <a:p>
                      <a:pPr>
                        <a:defRPr sz="1100">
                          <a:solidFill>
                            <a:srgbClr val="000000"/>
                          </a:solidFill>
                        </a:defRPr>
                      </a:pPr>
                      <a:r>
                        <a:t>Pas d’hébergement proposé</a:t>
                      </a:r>
                    </a:p>
                  </a:txBody>
                  <a:tcPr/>
                </a:tc>
                <a:tc>
                  <a:txBody>
                    <a:bodyPr/>
                    <a:lstStyle/>
                    <a:p>
                      <a:pPr>
                        <a:defRPr sz="1100">
                          <a:solidFill>
                            <a:srgbClr val="000000"/>
                          </a:solidFill>
                        </a:defRPr>
                      </a:pPr>
                      <a:r>
                        <a:rPr dirty="0"/>
                        <a:t>✅ </a:t>
                      </a:r>
                      <a:r>
                        <a:rPr dirty="0" err="1"/>
                        <a:t>Offre</a:t>
                      </a:r>
                      <a:r>
                        <a:rPr dirty="0"/>
                        <a:t> </a:t>
                      </a:r>
                      <a:r>
                        <a:rPr dirty="0" err="1"/>
                        <a:t>complète</a:t>
                      </a:r>
                      <a:r>
                        <a:rPr dirty="0"/>
                        <a:t> : </a:t>
                      </a:r>
                      <a:r>
                        <a:rPr dirty="0" err="1"/>
                        <a:t>cabanes</a:t>
                      </a:r>
                      <a:r>
                        <a:rPr dirty="0"/>
                        <a:t> + activités </a:t>
                      </a:r>
                      <a:r>
                        <a:rPr dirty="0" err="1"/>
                        <a:t>nautiques</a:t>
                      </a:r>
                      <a:endParaRPr dirty="0"/>
                    </a:p>
                  </a:txBody>
                  <a:tcPr/>
                </a:tc>
                <a:extLst>
                  <a:ext uri="{0D108BD9-81ED-4DB2-BD59-A6C34878D82A}">
                    <a16:rowId xmlns:a16="http://schemas.microsoft.com/office/drawing/2014/main" val="10006"/>
                  </a:ext>
                </a:extLst>
              </a:tr>
            </a:tbl>
          </a:graphicData>
        </a:graphic>
      </p:graphicFrame>
      <p:sp>
        <p:nvSpPr>
          <p:cNvPr id="5" name="Rectangle 4">
            <a:extLst>
              <a:ext uri="{FF2B5EF4-FFF2-40B4-BE49-F238E27FC236}">
                <a16:creationId xmlns:a16="http://schemas.microsoft.com/office/drawing/2014/main" id="{42F96327-204D-410F-B367-964FFDCB0249}"/>
              </a:ext>
            </a:extLst>
          </p:cNvPr>
          <p:cNvSpPr/>
          <p:nvPr/>
        </p:nvSpPr>
        <p:spPr>
          <a:xfrm>
            <a:off x="11728576" y="6211669"/>
            <a:ext cx="418704" cy="646331"/>
          </a:xfrm>
          <a:prstGeom prst="rect">
            <a:avLst/>
          </a:prstGeom>
        </p:spPr>
        <p:txBody>
          <a:bodyPr wrap="none">
            <a:spAutoFit/>
          </a:bodyPr>
          <a:lstStyle/>
          <a:p>
            <a:r>
              <a:rPr lang="en-US" sz="36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8</a:t>
            </a:r>
            <a:endParaRPr lang="fr-TN" sz="3600" dirty="0"/>
          </a:p>
        </p:txBody>
      </p:sp>
    </p:spTree>
    <p:extLst>
      <p:ext uri="{BB962C8B-B14F-4D97-AF65-F5344CB8AC3E}">
        <p14:creationId xmlns:p14="http://schemas.microsoft.com/office/powerpoint/2010/main" val="24125309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A8D2CC3F-74F6-4070-B79C-D307E326F6EB}"/>
              </a:ext>
            </a:extLst>
          </p:cNvPr>
          <p:cNvGraphicFramePr>
            <a:graphicFrameLocks noGrp="1"/>
          </p:cNvGraphicFramePr>
          <p:nvPr>
            <p:extLst>
              <p:ext uri="{D42A27DB-BD31-4B8C-83A1-F6EECF244321}">
                <p14:modId xmlns:p14="http://schemas.microsoft.com/office/powerpoint/2010/main" val="1284605067"/>
              </p:ext>
            </p:extLst>
          </p:nvPr>
        </p:nvGraphicFramePr>
        <p:xfrm>
          <a:off x="668980" y="2306965"/>
          <a:ext cx="10515600" cy="2926080"/>
        </p:xfrm>
        <a:graphic>
          <a:graphicData uri="http://schemas.openxmlformats.org/drawingml/2006/table">
            <a:tbl>
              <a:tblPr>
                <a:tableStyleId>{1E171933-4619-4E11-9A3F-F7608DF75F80}</a:tableStyleId>
              </a:tblPr>
              <a:tblGrid>
                <a:gridCol w="3505200">
                  <a:extLst>
                    <a:ext uri="{9D8B030D-6E8A-4147-A177-3AD203B41FA5}">
                      <a16:colId xmlns:a16="http://schemas.microsoft.com/office/drawing/2014/main" val="3147720917"/>
                    </a:ext>
                  </a:extLst>
                </a:gridCol>
                <a:gridCol w="3505200">
                  <a:extLst>
                    <a:ext uri="{9D8B030D-6E8A-4147-A177-3AD203B41FA5}">
                      <a16:colId xmlns:a16="http://schemas.microsoft.com/office/drawing/2014/main" val="177706511"/>
                    </a:ext>
                  </a:extLst>
                </a:gridCol>
                <a:gridCol w="3505200">
                  <a:extLst>
                    <a:ext uri="{9D8B030D-6E8A-4147-A177-3AD203B41FA5}">
                      <a16:colId xmlns:a16="http://schemas.microsoft.com/office/drawing/2014/main" val="2142745226"/>
                    </a:ext>
                  </a:extLst>
                </a:gridCol>
              </a:tblGrid>
              <a:tr h="0">
                <a:tc>
                  <a:txBody>
                    <a:bodyPr/>
                    <a:lstStyle/>
                    <a:p>
                      <a:r>
                        <a:rPr lang="fr-FR"/>
                        <a:t>Critère</a:t>
                      </a:r>
                      <a:endParaRPr lang="fr-FR">
                        <a:solidFill>
                          <a:schemeClr val="bg1"/>
                        </a:solidFill>
                      </a:endParaRPr>
                    </a:p>
                  </a:txBody>
                  <a:tcPr anchor="ctr"/>
                </a:tc>
                <a:tc>
                  <a:txBody>
                    <a:bodyPr/>
                    <a:lstStyle/>
                    <a:p>
                      <a:r>
                        <a:rPr lang="fr-FR"/>
                        <a:t>Enquête Clients</a:t>
                      </a:r>
                      <a:endParaRPr lang="fr-FR">
                        <a:solidFill>
                          <a:schemeClr val="bg1"/>
                        </a:solidFill>
                      </a:endParaRPr>
                    </a:p>
                  </a:txBody>
                  <a:tcPr anchor="ctr"/>
                </a:tc>
                <a:tc>
                  <a:txBody>
                    <a:bodyPr/>
                    <a:lstStyle/>
                    <a:p>
                      <a:r>
                        <a:rPr lang="fr-FR"/>
                        <a:t>Enquête Prestataires</a:t>
                      </a:r>
                      <a:endParaRPr lang="fr-FR">
                        <a:solidFill>
                          <a:schemeClr val="bg1"/>
                        </a:solidFill>
                      </a:endParaRPr>
                    </a:p>
                  </a:txBody>
                  <a:tcPr anchor="ctr"/>
                </a:tc>
                <a:extLst>
                  <a:ext uri="{0D108BD9-81ED-4DB2-BD59-A6C34878D82A}">
                    <a16:rowId xmlns:a16="http://schemas.microsoft.com/office/drawing/2014/main" val="3699901003"/>
                  </a:ext>
                </a:extLst>
              </a:tr>
              <a:tr h="0">
                <a:tc>
                  <a:txBody>
                    <a:bodyPr/>
                    <a:lstStyle/>
                    <a:p>
                      <a:r>
                        <a:rPr lang="fr-FR"/>
                        <a:t>Nombre de questions</a:t>
                      </a:r>
                      <a:endParaRPr lang="fr-FR">
                        <a:solidFill>
                          <a:schemeClr val="bg1"/>
                        </a:solidFill>
                      </a:endParaRPr>
                    </a:p>
                  </a:txBody>
                  <a:tcPr anchor="ctr"/>
                </a:tc>
                <a:tc>
                  <a:txBody>
                    <a:bodyPr/>
                    <a:lstStyle/>
                    <a:p>
                      <a:r>
                        <a:rPr lang="fr-FR" dirty="0"/>
                        <a:t>15 questions (habitudes, usages, besoins)</a:t>
                      </a:r>
                      <a:endParaRPr lang="fr-FR" dirty="0">
                        <a:solidFill>
                          <a:schemeClr val="bg1"/>
                        </a:solidFill>
                      </a:endParaRPr>
                    </a:p>
                  </a:txBody>
                  <a:tcPr anchor="ctr"/>
                </a:tc>
                <a:tc>
                  <a:txBody>
                    <a:bodyPr/>
                    <a:lstStyle/>
                    <a:p>
                      <a:r>
                        <a:rPr lang="fr-FR" dirty="0"/>
                        <a:t>11 questions (organisation, gestion, difficultés)</a:t>
                      </a:r>
                      <a:endParaRPr lang="fr-FR" dirty="0">
                        <a:solidFill>
                          <a:schemeClr val="bg1"/>
                        </a:solidFill>
                      </a:endParaRPr>
                    </a:p>
                  </a:txBody>
                  <a:tcPr anchor="ctr"/>
                </a:tc>
                <a:extLst>
                  <a:ext uri="{0D108BD9-81ED-4DB2-BD59-A6C34878D82A}">
                    <a16:rowId xmlns:a16="http://schemas.microsoft.com/office/drawing/2014/main" val="1347140137"/>
                  </a:ext>
                </a:extLst>
              </a:tr>
              <a:tr h="0">
                <a:tc>
                  <a:txBody>
                    <a:bodyPr/>
                    <a:lstStyle/>
                    <a:p>
                      <a:r>
                        <a:rPr lang="fr-FR"/>
                        <a:t>Nombre de réponses</a:t>
                      </a:r>
                      <a:endParaRPr lang="fr-FR">
                        <a:solidFill>
                          <a:schemeClr val="bg1"/>
                        </a:solidFill>
                      </a:endParaRPr>
                    </a:p>
                  </a:txBody>
                  <a:tcPr anchor="ctr"/>
                </a:tc>
                <a:tc>
                  <a:txBody>
                    <a:bodyPr/>
                    <a:lstStyle/>
                    <a:p>
                      <a:r>
                        <a:rPr lang="fr-FR" dirty="0"/>
                        <a:t>158 réponses</a:t>
                      </a:r>
                      <a:endParaRPr lang="fr-FR" dirty="0">
                        <a:solidFill>
                          <a:schemeClr val="bg1"/>
                        </a:solidFill>
                      </a:endParaRPr>
                    </a:p>
                  </a:txBody>
                  <a:tcPr anchor="ctr"/>
                </a:tc>
                <a:tc>
                  <a:txBody>
                    <a:bodyPr/>
                    <a:lstStyle/>
                    <a:p>
                      <a:r>
                        <a:rPr lang="fr-FR" dirty="0"/>
                        <a:t>20 réponses</a:t>
                      </a:r>
                      <a:endParaRPr lang="fr-FR" dirty="0">
                        <a:solidFill>
                          <a:schemeClr val="bg1"/>
                        </a:solidFill>
                      </a:endParaRPr>
                    </a:p>
                  </a:txBody>
                  <a:tcPr anchor="ctr"/>
                </a:tc>
                <a:extLst>
                  <a:ext uri="{0D108BD9-81ED-4DB2-BD59-A6C34878D82A}">
                    <a16:rowId xmlns:a16="http://schemas.microsoft.com/office/drawing/2014/main" val="2418541106"/>
                  </a:ext>
                </a:extLst>
              </a:tr>
              <a:tr h="0">
                <a:tc>
                  <a:txBody>
                    <a:bodyPr/>
                    <a:lstStyle/>
                    <a:p>
                      <a:r>
                        <a:rPr lang="fr-FR"/>
                        <a:t>Cible</a:t>
                      </a:r>
                      <a:endParaRPr lang="fr-FR">
                        <a:solidFill>
                          <a:schemeClr val="bg1"/>
                        </a:solidFill>
                      </a:endParaRPr>
                    </a:p>
                  </a:txBody>
                  <a:tcPr anchor="ctr"/>
                </a:tc>
                <a:tc>
                  <a:txBody>
                    <a:bodyPr/>
                    <a:lstStyle/>
                    <a:p>
                      <a:r>
                        <a:rPr lang="fr-FR" dirty="0"/>
                        <a:t>Les visiteurs des plages Tunisien</a:t>
                      </a:r>
                      <a:endParaRPr lang="fr-FR" dirty="0">
                        <a:solidFill>
                          <a:schemeClr val="bg1"/>
                        </a:solidFill>
                      </a:endParaRPr>
                    </a:p>
                  </a:txBody>
                  <a:tcPr anchor="ctr"/>
                </a:tc>
                <a:tc>
                  <a:txBody>
                    <a:bodyPr/>
                    <a:lstStyle/>
                    <a:p>
                      <a:r>
                        <a:rPr lang="fr-FR" dirty="0"/>
                        <a:t>Prestataires des cabines et des activités nautique </a:t>
                      </a:r>
                      <a:endParaRPr lang="fr-FR" dirty="0">
                        <a:solidFill>
                          <a:schemeClr val="bg1"/>
                        </a:solidFill>
                      </a:endParaRPr>
                    </a:p>
                  </a:txBody>
                  <a:tcPr anchor="ctr"/>
                </a:tc>
                <a:extLst>
                  <a:ext uri="{0D108BD9-81ED-4DB2-BD59-A6C34878D82A}">
                    <a16:rowId xmlns:a16="http://schemas.microsoft.com/office/drawing/2014/main" val="1734720874"/>
                  </a:ext>
                </a:extLst>
              </a:tr>
              <a:tr h="0">
                <a:tc>
                  <a:txBody>
                    <a:bodyPr/>
                    <a:lstStyle/>
                    <a:p>
                      <a:r>
                        <a:rPr lang="fr-FR"/>
                        <a:t>Thématiques principales</a:t>
                      </a:r>
                      <a:endParaRPr lang="fr-FR">
                        <a:solidFill>
                          <a:schemeClr val="bg1"/>
                        </a:solidFill>
                      </a:endParaRPr>
                    </a:p>
                  </a:txBody>
                  <a:tcPr anchor="ctr"/>
                </a:tc>
                <a:tc>
                  <a:txBody>
                    <a:bodyPr/>
                    <a:lstStyle/>
                    <a:p>
                      <a:r>
                        <a:rPr lang="fr-FR"/>
                        <a:t>Fréquence plage, types d’activités, critères de choix, usages appli</a:t>
                      </a:r>
                      <a:endParaRPr lang="fr-FR">
                        <a:solidFill>
                          <a:schemeClr val="bg1"/>
                        </a:solidFill>
                      </a:endParaRPr>
                    </a:p>
                  </a:txBody>
                  <a:tcPr anchor="ctr"/>
                </a:tc>
                <a:tc>
                  <a:txBody>
                    <a:bodyPr/>
                    <a:lstStyle/>
                    <a:p>
                      <a:r>
                        <a:rPr lang="fr-FR" dirty="0"/>
                        <a:t>Gestion des réservations, outils utilisés, difficultés, capacités, activité saisonnière</a:t>
                      </a:r>
                      <a:endParaRPr lang="fr-FR" dirty="0">
                        <a:solidFill>
                          <a:schemeClr val="bg1"/>
                        </a:solidFill>
                      </a:endParaRPr>
                    </a:p>
                  </a:txBody>
                  <a:tcPr anchor="ctr"/>
                </a:tc>
                <a:extLst>
                  <a:ext uri="{0D108BD9-81ED-4DB2-BD59-A6C34878D82A}">
                    <a16:rowId xmlns:a16="http://schemas.microsoft.com/office/drawing/2014/main" val="1022516774"/>
                  </a:ext>
                </a:extLst>
              </a:tr>
            </a:tbl>
          </a:graphicData>
        </a:graphic>
      </p:graphicFrame>
      <p:sp>
        <p:nvSpPr>
          <p:cNvPr id="4" name="Title 1">
            <a:extLst>
              <a:ext uri="{FF2B5EF4-FFF2-40B4-BE49-F238E27FC236}">
                <a16:creationId xmlns:a16="http://schemas.microsoft.com/office/drawing/2014/main" id="{C0E028C4-06DF-4175-B623-BDC7BD723678}"/>
              </a:ext>
            </a:extLst>
          </p:cNvPr>
          <p:cNvSpPr>
            <a:spLocks noGrp="1"/>
          </p:cNvSpPr>
          <p:nvPr/>
        </p:nvSpPr>
        <p:spPr>
          <a:xfrm>
            <a:off x="668980" y="436486"/>
            <a:ext cx="11353800" cy="739056"/>
          </a:xfrm>
          <a:prstGeom prst="rect">
            <a:avLst/>
          </a:prstGeom>
        </p:spPr>
        <p:txBody>
          <a:bodyPr rIns="0">
            <a:normAutofit/>
          </a:bodyPr>
          <a:lstStyle>
            <a:lvl1pPr algn="l" defTabSz="914400" rtl="0" eaLnBrk="1" latinLnBrk="0" hangingPunct="1">
              <a:lnSpc>
                <a:spcPct val="90000"/>
              </a:lnSpc>
              <a:spcBef>
                <a:spcPct val="0"/>
              </a:spcBef>
              <a:buNone/>
              <a:defRPr lang="en-US" sz="3600" b="1" kern="1200">
                <a:solidFill>
                  <a:schemeClr val="tx1"/>
                </a:solidFill>
                <a:latin typeface="Helvetica" panose="020B0500000000000000" pitchFamily="34" charset="0"/>
                <a:ea typeface="+mj-ea"/>
                <a:cs typeface="+mj-cs"/>
              </a:defRPr>
            </a:lvl1pPr>
          </a:lstStyle>
          <a:p>
            <a:endParaRPr lang="en-US" dirty="0"/>
          </a:p>
        </p:txBody>
      </p:sp>
      <p:sp>
        <p:nvSpPr>
          <p:cNvPr id="5" name="TextBox 1">
            <a:extLst>
              <a:ext uri="{FF2B5EF4-FFF2-40B4-BE49-F238E27FC236}">
                <a16:creationId xmlns:a16="http://schemas.microsoft.com/office/drawing/2014/main" id="{A90A4774-A2F8-40D2-BDBC-10B63B27F1F8}"/>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sp>
        <p:nvSpPr>
          <p:cNvPr id="6" name="TextBox 3">
            <a:extLst>
              <a:ext uri="{FF2B5EF4-FFF2-40B4-BE49-F238E27FC236}">
                <a16:creationId xmlns:a16="http://schemas.microsoft.com/office/drawing/2014/main" id="{E745D300-9C14-4077-9C40-AACC315C918D}"/>
              </a:ext>
            </a:extLst>
          </p:cNvPr>
          <p:cNvSpPr txBox="1"/>
          <p:nvPr/>
        </p:nvSpPr>
        <p:spPr>
          <a:xfrm>
            <a:off x="880404" y="404101"/>
            <a:ext cx="237244"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de</a:t>
            </a:r>
          </a:p>
        </p:txBody>
      </p:sp>
      <p:sp>
        <p:nvSpPr>
          <p:cNvPr id="7" name="TextBox 30">
            <a:extLst>
              <a:ext uri="{FF2B5EF4-FFF2-40B4-BE49-F238E27FC236}">
                <a16:creationId xmlns:a16="http://schemas.microsoft.com/office/drawing/2014/main" id="{8A71CDD5-C2C3-4105-BD1B-4745BB39CDDF}"/>
              </a:ext>
            </a:extLst>
          </p:cNvPr>
          <p:cNvSpPr txBox="1"/>
          <p:nvPr/>
        </p:nvSpPr>
        <p:spPr>
          <a:xfrm>
            <a:off x="1171948" y="404101"/>
            <a:ext cx="722955"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lang="en-US" kern="0" dirty="0">
                <a:solidFill>
                  <a:prstClr val="white"/>
                </a:solidFill>
                <a:latin typeface="Darker Grotesque" pitchFamily="2" charset="0"/>
              </a:rPr>
              <a:t>Marché</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grpSp>
        <p:nvGrpSpPr>
          <p:cNvPr id="8" name="Group 44">
            <a:extLst>
              <a:ext uri="{FF2B5EF4-FFF2-40B4-BE49-F238E27FC236}">
                <a16:creationId xmlns:a16="http://schemas.microsoft.com/office/drawing/2014/main" id="{B985E55A-70EA-4BDD-BB72-B7E2AF4D9452}"/>
              </a:ext>
            </a:extLst>
          </p:cNvPr>
          <p:cNvGrpSpPr/>
          <p:nvPr/>
        </p:nvGrpSpPr>
        <p:grpSpPr>
          <a:xfrm>
            <a:off x="169220" y="623779"/>
            <a:ext cx="11774687" cy="967005"/>
            <a:chOff x="169220" y="623779"/>
            <a:chExt cx="11774687" cy="967005"/>
          </a:xfrm>
        </p:grpSpPr>
        <p:cxnSp>
          <p:nvCxnSpPr>
            <p:cNvPr id="9" name="Straight Connector 9">
              <a:extLst>
                <a:ext uri="{FF2B5EF4-FFF2-40B4-BE49-F238E27FC236}">
                  <a16:creationId xmlns:a16="http://schemas.microsoft.com/office/drawing/2014/main" id="{65544D09-08C5-4192-BF6D-A412B20D288B}"/>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10" name="TextBox 20">
              <a:extLst>
                <a:ext uri="{FF2B5EF4-FFF2-40B4-BE49-F238E27FC236}">
                  <a16:creationId xmlns:a16="http://schemas.microsoft.com/office/drawing/2014/main" id="{0F2210DA-6F39-4E17-839A-D8FC4971C1F2}"/>
                </a:ext>
              </a:extLst>
            </p:cNvPr>
            <p:cNvSpPr txBox="1"/>
            <p:nvPr/>
          </p:nvSpPr>
          <p:spPr>
            <a:xfrm>
              <a:off x="169220" y="1003572"/>
              <a:ext cx="8873358" cy="587212"/>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800" b="1" dirty="0">
                  <a:solidFill>
                    <a:schemeClr val="bg1"/>
                  </a:solidFill>
                </a:rPr>
                <a:t>Enquête ( Clients , Prestataires ) </a:t>
              </a:r>
              <a:endParaRPr lang="en-GB" sz="4800" dirty="0"/>
            </a:p>
          </p:txBody>
        </p:sp>
      </p:grpSp>
      <p:sp>
        <p:nvSpPr>
          <p:cNvPr id="11" name="Oval 25">
            <a:extLst>
              <a:ext uri="{FF2B5EF4-FFF2-40B4-BE49-F238E27FC236}">
                <a16:creationId xmlns:a16="http://schemas.microsoft.com/office/drawing/2014/main" id="{C99F23CF-B5B3-4450-BA5B-E7183961FB4F}"/>
              </a:ext>
            </a:extLst>
          </p:cNvPr>
          <p:cNvSpPr/>
          <p:nvPr/>
        </p:nvSpPr>
        <p:spPr>
          <a:xfrm>
            <a:off x="5842207" y="369986"/>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2" name="Graphic 26">
            <a:extLst>
              <a:ext uri="{FF2B5EF4-FFF2-40B4-BE49-F238E27FC236}">
                <a16:creationId xmlns:a16="http://schemas.microsoft.com/office/drawing/2014/main" id="{8AF964A2-2072-46E2-92ED-A6EAD74FBAB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970000" y="497779"/>
            <a:ext cx="252000" cy="252000"/>
          </a:xfrm>
          <a:prstGeom prst="rect">
            <a:avLst/>
          </a:prstGeom>
        </p:spPr>
      </p:pic>
      <p:sp>
        <p:nvSpPr>
          <p:cNvPr id="13" name="Rectangle 12">
            <a:extLst>
              <a:ext uri="{FF2B5EF4-FFF2-40B4-BE49-F238E27FC236}">
                <a16:creationId xmlns:a16="http://schemas.microsoft.com/office/drawing/2014/main" id="{898B2FE9-EA2C-43F6-A1FF-25DB3A80B796}"/>
              </a:ext>
            </a:extLst>
          </p:cNvPr>
          <p:cNvSpPr/>
          <p:nvPr/>
        </p:nvSpPr>
        <p:spPr>
          <a:xfrm>
            <a:off x="11728576" y="6098348"/>
            <a:ext cx="418704" cy="646331"/>
          </a:xfrm>
          <a:prstGeom prst="rect">
            <a:avLst/>
          </a:prstGeom>
        </p:spPr>
        <p:txBody>
          <a:bodyPr wrap="none">
            <a:spAutoFit/>
          </a:bodyPr>
          <a:lstStyle/>
          <a:p>
            <a:r>
              <a:rPr lang="en-US" sz="36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9</a:t>
            </a:r>
            <a:endParaRPr lang="fr-TN" sz="3600" dirty="0"/>
          </a:p>
        </p:txBody>
      </p:sp>
    </p:spTree>
    <p:extLst>
      <p:ext uri="{BB962C8B-B14F-4D97-AF65-F5344CB8AC3E}">
        <p14:creationId xmlns:p14="http://schemas.microsoft.com/office/powerpoint/2010/main" val="13987283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6DA5FC-7056-3A17-4FCD-8EB9765A929A}"/>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5E6A3573-A720-4D55-EB63-54349955A20F}"/>
              </a:ext>
            </a:extLst>
          </p:cNvPr>
          <p:cNvSpPr>
            <a:spLocks noGrp="1"/>
          </p:cNvSpPr>
          <p:nvPr/>
        </p:nvSpPr>
        <p:spPr>
          <a:xfrm>
            <a:off x="668980" y="436486"/>
            <a:ext cx="11353800" cy="739056"/>
          </a:xfrm>
          <a:prstGeom prst="rect">
            <a:avLst/>
          </a:prstGeom>
        </p:spPr>
        <p:txBody>
          <a:bodyPr rIns="0">
            <a:normAutofit/>
          </a:bodyPr>
          <a:lstStyle>
            <a:lvl1pPr algn="l" defTabSz="914400" rtl="0" eaLnBrk="1" latinLnBrk="0" hangingPunct="1">
              <a:lnSpc>
                <a:spcPct val="90000"/>
              </a:lnSpc>
              <a:spcBef>
                <a:spcPct val="0"/>
              </a:spcBef>
              <a:buNone/>
              <a:defRPr lang="en-US" sz="3600" b="1" kern="1200">
                <a:solidFill>
                  <a:schemeClr val="tx1"/>
                </a:solidFill>
                <a:latin typeface="Helvetica" panose="020B0500000000000000" pitchFamily="34" charset="0"/>
                <a:ea typeface="+mj-ea"/>
                <a:cs typeface="+mj-cs"/>
              </a:defRPr>
            </a:lvl1pPr>
          </a:lstStyle>
          <a:p>
            <a:endParaRPr lang="en-US" dirty="0"/>
          </a:p>
        </p:txBody>
      </p:sp>
      <p:sp>
        <p:nvSpPr>
          <p:cNvPr id="47" name="TextBox 1">
            <a:extLst>
              <a:ext uri="{FF2B5EF4-FFF2-40B4-BE49-F238E27FC236}">
                <a16:creationId xmlns:a16="http://schemas.microsoft.com/office/drawing/2014/main" id="{D645DE70-4280-3FA3-A376-DABF14A4AA95}"/>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sp>
        <p:nvSpPr>
          <p:cNvPr id="48" name="TextBox 3">
            <a:extLst>
              <a:ext uri="{FF2B5EF4-FFF2-40B4-BE49-F238E27FC236}">
                <a16:creationId xmlns:a16="http://schemas.microsoft.com/office/drawing/2014/main" id="{0ABB9A1A-9A6A-C4B2-C32B-EB2C5001D8BD}"/>
              </a:ext>
            </a:extLst>
          </p:cNvPr>
          <p:cNvSpPr txBox="1"/>
          <p:nvPr/>
        </p:nvSpPr>
        <p:spPr>
          <a:xfrm>
            <a:off x="880404" y="404101"/>
            <a:ext cx="237244"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de</a:t>
            </a:r>
          </a:p>
        </p:txBody>
      </p:sp>
      <p:sp>
        <p:nvSpPr>
          <p:cNvPr id="49" name="TextBox 30">
            <a:extLst>
              <a:ext uri="{FF2B5EF4-FFF2-40B4-BE49-F238E27FC236}">
                <a16:creationId xmlns:a16="http://schemas.microsoft.com/office/drawing/2014/main" id="{9967DCED-924D-E370-F442-9E5EE6C7D2C7}"/>
              </a:ext>
            </a:extLst>
          </p:cNvPr>
          <p:cNvSpPr txBox="1"/>
          <p:nvPr/>
        </p:nvSpPr>
        <p:spPr>
          <a:xfrm>
            <a:off x="1171948" y="404101"/>
            <a:ext cx="722955"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lang="en-US" kern="0" dirty="0">
                <a:solidFill>
                  <a:prstClr val="white"/>
                </a:solidFill>
                <a:latin typeface="Darker Grotesque" pitchFamily="2" charset="0"/>
              </a:rPr>
              <a:t>Marché</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grpSp>
        <p:nvGrpSpPr>
          <p:cNvPr id="50" name="Group 44">
            <a:extLst>
              <a:ext uri="{FF2B5EF4-FFF2-40B4-BE49-F238E27FC236}">
                <a16:creationId xmlns:a16="http://schemas.microsoft.com/office/drawing/2014/main" id="{6B92415D-C288-FBC5-B60B-245E657781BF}"/>
              </a:ext>
            </a:extLst>
          </p:cNvPr>
          <p:cNvGrpSpPr/>
          <p:nvPr/>
        </p:nvGrpSpPr>
        <p:grpSpPr>
          <a:xfrm>
            <a:off x="-1211561" y="565746"/>
            <a:ext cx="13162241" cy="932337"/>
            <a:chOff x="-1218334" y="623779"/>
            <a:chExt cx="13162241" cy="932337"/>
          </a:xfrm>
        </p:grpSpPr>
        <p:cxnSp>
          <p:nvCxnSpPr>
            <p:cNvPr id="51" name="Straight Connector 9">
              <a:extLst>
                <a:ext uri="{FF2B5EF4-FFF2-40B4-BE49-F238E27FC236}">
                  <a16:creationId xmlns:a16="http://schemas.microsoft.com/office/drawing/2014/main" id="{C551BEE6-CE8D-0563-05BE-65CB7FF50E30}"/>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53" name="TextBox 20">
              <a:extLst>
                <a:ext uri="{FF2B5EF4-FFF2-40B4-BE49-F238E27FC236}">
                  <a16:creationId xmlns:a16="http://schemas.microsoft.com/office/drawing/2014/main" id="{CAFC77F4-6D7B-1B51-4A49-D0C61056B5B2}"/>
                </a:ext>
              </a:extLst>
            </p:cNvPr>
            <p:cNvSpPr txBox="1"/>
            <p:nvPr/>
          </p:nvSpPr>
          <p:spPr>
            <a:xfrm>
              <a:off x="-1218334" y="968904"/>
              <a:ext cx="8116973" cy="587212"/>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ctr"/>
              <a:r>
                <a:rPr lang="fr-FR" sz="4800" b="1" dirty="0">
                  <a:solidFill>
                    <a:schemeClr val="bg1"/>
                  </a:solidFill>
                </a:rPr>
                <a:t>Enquête</a:t>
              </a:r>
              <a:r>
                <a:rPr lang="fr-FR" sz="4800" dirty="0"/>
                <a:t> </a:t>
              </a:r>
              <a:r>
                <a:rPr lang="fr-FR" sz="4800" b="1" dirty="0">
                  <a:solidFill>
                    <a:schemeClr val="bg1"/>
                  </a:solidFill>
                </a:rPr>
                <a:t>( clients ) </a:t>
              </a:r>
              <a:endParaRPr lang="en-GB" sz="4800" b="1" dirty="0">
                <a:solidFill>
                  <a:schemeClr val="bg1"/>
                </a:solidFill>
              </a:endParaRPr>
            </a:p>
          </p:txBody>
        </p:sp>
      </p:grpSp>
      <p:sp>
        <p:nvSpPr>
          <p:cNvPr id="2" name="Oval 25">
            <a:extLst>
              <a:ext uri="{FF2B5EF4-FFF2-40B4-BE49-F238E27FC236}">
                <a16:creationId xmlns:a16="http://schemas.microsoft.com/office/drawing/2014/main" id="{CEFBE490-7A53-CCEC-7C12-582554C7F126}"/>
              </a:ext>
            </a:extLst>
          </p:cNvPr>
          <p:cNvSpPr/>
          <p:nvPr/>
        </p:nvSpPr>
        <p:spPr>
          <a:xfrm>
            <a:off x="5842207" y="369986"/>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4" name="Graphic 26">
            <a:extLst>
              <a:ext uri="{FF2B5EF4-FFF2-40B4-BE49-F238E27FC236}">
                <a16:creationId xmlns:a16="http://schemas.microsoft.com/office/drawing/2014/main" id="{8EC7D4C1-6DEF-E34A-1AD9-F0DFEC035E1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970000" y="497779"/>
            <a:ext cx="252000" cy="252000"/>
          </a:xfrm>
          <a:prstGeom prst="rect">
            <a:avLst/>
          </a:prstGeom>
        </p:spPr>
      </p:pic>
      <p:pic>
        <p:nvPicPr>
          <p:cNvPr id="26" name="Image 25">
            <a:extLst>
              <a:ext uri="{FF2B5EF4-FFF2-40B4-BE49-F238E27FC236}">
                <a16:creationId xmlns:a16="http://schemas.microsoft.com/office/drawing/2014/main" id="{1E2CA518-86B0-2A90-BD32-0F9401499F7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93693" y="1604872"/>
            <a:ext cx="3645402" cy="5104920"/>
          </a:xfrm>
          <a:prstGeom prst="rect">
            <a:avLst/>
          </a:prstGeom>
        </p:spPr>
      </p:pic>
      <p:pic>
        <p:nvPicPr>
          <p:cNvPr id="30" name="Image 29">
            <a:extLst>
              <a:ext uri="{FF2B5EF4-FFF2-40B4-BE49-F238E27FC236}">
                <a16:creationId xmlns:a16="http://schemas.microsoft.com/office/drawing/2014/main" id="{5709BBFA-0509-623B-F630-0212FED39D8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0717" y="1604871"/>
            <a:ext cx="3785043" cy="5104920"/>
          </a:xfrm>
          <a:prstGeom prst="rect">
            <a:avLst/>
          </a:prstGeom>
        </p:spPr>
      </p:pic>
      <p:pic>
        <p:nvPicPr>
          <p:cNvPr id="34" name="Image 33">
            <a:extLst>
              <a:ext uri="{FF2B5EF4-FFF2-40B4-BE49-F238E27FC236}">
                <a16:creationId xmlns:a16="http://schemas.microsoft.com/office/drawing/2014/main" id="{D818B4F3-7B5B-092D-3F67-B922D431C24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47747" y="1586165"/>
            <a:ext cx="3534653" cy="5123626"/>
          </a:xfrm>
          <a:prstGeom prst="rect">
            <a:avLst/>
          </a:prstGeom>
        </p:spPr>
      </p:pic>
      <p:sp>
        <p:nvSpPr>
          <p:cNvPr id="5" name="Rectangle 4">
            <a:extLst>
              <a:ext uri="{FF2B5EF4-FFF2-40B4-BE49-F238E27FC236}">
                <a16:creationId xmlns:a16="http://schemas.microsoft.com/office/drawing/2014/main" id="{700B8C8F-D1E1-4ACC-8E79-DAA00C453376}"/>
              </a:ext>
            </a:extLst>
          </p:cNvPr>
          <p:cNvSpPr/>
          <p:nvPr/>
        </p:nvSpPr>
        <p:spPr>
          <a:xfrm>
            <a:off x="11590553" y="6306605"/>
            <a:ext cx="601447" cy="584775"/>
          </a:xfrm>
          <a:prstGeom prst="rect">
            <a:avLst/>
          </a:prstGeom>
        </p:spPr>
        <p:txBody>
          <a:bodyPr wrap="none">
            <a:spAutoFit/>
          </a:bodyPr>
          <a:lstStyle/>
          <a:p>
            <a:r>
              <a:rPr lang="en-US"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10</a:t>
            </a:r>
            <a:endParaRPr lang="fr-TN" sz="3200" dirty="0"/>
          </a:p>
        </p:txBody>
      </p:sp>
    </p:spTree>
    <p:extLst>
      <p:ext uri="{BB962C8B-B14F-4D97-AF65-F5344CB8AC3E}">
        <p14:creationId xmlns:p14="http://schemas.microsoft.com/office/powerpoint/2010/main" val="25717640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6DF43A-9526-EFA8-9060-26B28C3B40DE}"/>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D69253C0-8754-7E7B-8848-07A794BC8EF1}"/>
              </a:ext>
            </a:extLst>
          </p:cNvPr>
          <p:cNvSpPr>
            <a:spLocks noGrp="1"/>
          </p:cNvSpPr>
          <p:nvPr/>
        </p:nvSpPr>
        <p:spPr>
          <a:xfrm>
            <a:off x="668980" y="436486"/>
            <a:ext cx="11353800" cy="739056"/>
          </a:xfrm>
          <a:prstGeom prst="rect">
            <a:avLst/>
          </a:prstGeom>
        </p:spPr>
        <p:txBody>
          <a:bodyPr rIns="0">
            <a:normAutofit/>
          </a:bodyPr>
          <a:lstStyle>
            <a:lvl1pPr algn="l" defTabSz="914400" rtl="0" eaLnBrk="1" latinLnBrk="0" hangingPunct="1">
              <a:lnSpc>
                <a:spcPct val="90000"/>
              </a:lnSpc>
              <a:spcBef>
                <a:spcPct val="0"/>
              </a:spcBef>
              <a:buNone/>
              <a:defRPr lang="en-US" sz="3600" b="1" kern="1200">
                <a:solidFill>
                  <a:schemeClr val="tx1"/>
                </a:solidFill>
                <a:latin typeface="Helvetica" panose="020B0500000000000000" pitchFamily="34" charset="0"/>
                <a:ea typeface="+mj-ea"/>
                <a:cs typeface="+mj-cs"/>
              </a:defRPr>
            </a:lvl1pPr>
          </a:lstStyle>
          <a:p>
            <a:endParaRPr lang="en-US" dirty="0"/>
          </a:p>
        </p:txBody>
      </p:sp>
      <p:sp>
        <p:nvSpPr>
          <p:cNvPr id="47" name="TextBox 1">
            <a:extLst>
              <a:ext uri="{FF2B5EF4-FFF2-40B4-BE49-F238E27FC236}">
                <a16:creationId xmlns:a16="http://schemas.microsoft.com/office/drawing/2014/main" id="{46183D59-AB97-8589-F712-7C886BAD6FFB}"/>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sp>
        <p:nvSpPr>
          <p:cNvPr id="48" name="TextBox 3">
            <a:extLst>
              <a:ext uri="{FF2B5EF4-FFF2-40B4-BE49-F238E27FC236}">
                <a16:creationId xmlns:a16="http://schemas.microsoft.com/office/drawing/2014/main" id="{7394CAA8-2123-B112-82DA-7F81CE73CBF2}"/>
              </a:ext>
            </a:extLst>
          </p:cNvPr>
          <p:cNvSpPr txBox="1"/>
          <p:nvPr/>
        </p:nvSpPr>
        <p:spPr>
          <a:xfrm>
            <a:off x="880404" y="404101"/>
            <a:ext cx="237244"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de</a:t>
            </a:r>
          </a:p>
        </p:txBody>
      </p:sp>
      <p:sp>
        <p:nvSpPr>
          <p:cNvPr id="49" name="TextBox 30">
            <a:extLst>
              <a:ext uri="{FF2B5EF4-FFF2-40B4-BE49-F238E27FC236}">
                <a16:creationId xmlns:a16="http://schemas.microsoft.com/office/drawing/2014/main" id="{0D77ED52-5F43-FDCD-A526-FA48530B4A81}"/>
              </a:ext>
            </a:extLst>
          </p:cNvPr>
          <p:cNvSpPr txBox="1"/>
          <p:nvPr/>
        </p:nvSpPr>
        <p:spPr>
          <a:xfrm>
            <a:off x="1171948" y="404101"/>
            <a:ext cx="722955"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lang="en-US" kern="0" dirty="0">
                <a:solidFill>
                  <a:prstClr val="white"/>
                </a:solidFill>
                <a:latin typeface="Darker Grotesque" pitchFamily="2" charset="0"/>
              </a:rPr>
              <a:t>Marché</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grpSp>
        <p:nvGrpSpPr>
          <p:cNvPr id="50" name="Group 44">
            <a:extLst>
              <a:ext uri="{FF2B5EF4-FFF2-40B4-BE49-F238E27FC236}">
                <a16:creationId xmlns:a16="http://schemas.microsoft.com/office/drawing/2014/main" id="{3081F479-6D6D-1266-9391-342FCE076EF3}"/>
              </a:ext>
            </a:extLst>
          </p:cNvPr>
          <p:cNvGrpSpPr/>
          <p:nvPr/>
        </p:nvGrpSpPr>
        <p:grpSpPr>
          <a:xfrm>
            <a:off x="169220" y="712087"/>
            <a:ext cx="11709361" cy="1020419"/>
            <a:chOff x="234546" y="623779"/>
            <a:chExt cx="11709361" cy="1020419"/>
          </a:xfrm>
        </p:grpSpPr>
        <p:cxnSp>
          <p:nvCxnSpPr>
            <p:cNvPr id="51" name="Straight Connector 9">
              <a:extLst>
                <a:ext uri="{FF2B5EF4-FFF2-40B4-BE49-F238E27FC236}">
                  <a16:creationId xmlns:a16="http://schemas.microsoft.com/office/drawing/2014/main" id="{25D16A83-19ED-0298-F3A6-93E12C4183E7}"/>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53" name="TextBox 20">
              <a:extLst>
                <a:ext uri="{FF2B5EF4-FFF2-40B4-BE49-F238E27FC236}">
                  <a16:creationId xmlns:a16="http://schemas.microsoft.com/office/drawing/2014/main" id="{B292AA4A-AA9C-851A-E312-68D49C4E57E7}"/>
                </a:ext>
              </a:extLst>
            </p:cNvPr>
            <p:cNvSpPr txBox="1"/>
            <p:nvPr/>
          </p:nvSpPr>
          <p:spPr>
            <a:xfrm>
              <a:off x="234546" y="1056986"/>
              <a:ext cx="11353800" cy="587212"/>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endParaRPr lang="en-GB" sz="4800" dirty="0"/>
            </a:p>
          </p:txBody>
        </p:sp>
      </p:grpSp>
      <p:sp>
        <p:nvSpPr>
          <p:cNvPr id="2" name="Oval 25">
            <a:extLst>
              <a:ext uri="{FF2B5EF4-FFF2-40B4-BE49-F238E27FC236}">
                <a16:creationId xmlns:a16="http://schemas.microsoft.com/office/drawing/2014/main" id="{1E21F898-4A23-A2D4-F4B6-A1D3B571B2FC}"/>
              </a:ext>
            </a:extLst>
          </p:cNvPr>
          <p:cNvSpPr/>
          <p:nvPr/>
        </p:nvSpPr>
        <p:spPr>
          <a:xfrm>
            <a:off x="5842207" y="369986"/>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4" name="Graphic 26">
            <a:extLst>
              <a:ext uri="{FF2B5EF4-FFF2-40B4-BE49-F238E27FC236}">
                <a16:creationId xmlns:a16="http://schemas.microsoft.com/office/drawing/2014/main" id="{D0B3A6C0-4E09-F683-2162-C0BDDFF9B91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970000" y="497779"/>
            <a:ext cx="252000" cy="252000"/>
          </a:xfrm>
          <a:prstGeom prst="rect">
            <a:avLst/>
          </a:prstGeom>
        </p:spPr>
      </p:pic>
      <p:pic>
        <p:nvPicPr>
          <p:cNvPr id="3078" name="Picture 6" descr="Tableau des réponses au formulaire Forms. Titre de la question : Depuis combien de temps êtes-vous présent à Coco Beach ?. Nombre de réponses : 11 réponses.">
            <a:extLst>
              <a:ext uri="{FF2B5EF4-FFF2-40B4-BE49-F238E27FC236}">
                <a16:creationId xmlns:a16="http://schemas.microsoft.com/office/drawing/2014/main" id="{769C8B87-0D46-0A5D-96A3-53E4445E123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44308" y="987689"/>
            <a:ext cx="4775200" cy="2273194"/>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Tableau des réponses au formulaire Forms. Titre de la question :   Selon vous, combien de prestataires sont présents à Coco Beach ?  . Nombre de réponses : 11 réponses.">
            <a:extLst>
              <a:ext uri="{FF2B5EF4-FFF2-40B4-BE49-F238E27FC236}">
                <a16:creationId xmlns:a16="http://schemas.microsoft.com/office/drawing/2014/main" id="{1A852F39-50C5-B002-848A-6672D101257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17907" y="987689"/>
            <a:ext cx="5394973" cy="2273194"/>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Tableau des réponses au formulaire Forms. Titre de la question : Combien de cabanes de plage gérez-vous actuellement ?  . Nombre de réponses : 11 réponses.">
            <a:extLst>
              <a:ext uri="{FF2B5EF4-FFF2-40B4-BE49-F238E27FC236}">
                <a16:creationId xmlns:a16="http://schemas.microsoft.com/office/drawing/2014/main" id="{B7946A96-01DB-C051-C521-F35ABFD3368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48401" y="3260883"/>
            <a:ext cx="4673599" cy="1969240"/>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Tableau des réponses au formulaire Forms. Titre de la question :  En moyenne, combien de personnes peuvent accueillir vos cabanes en même temps ?  . Nombre de réponses : 11 réponses.">
            <a:extLst>
              <a:ext uri="{FF2B5EF4-FFF2-40B4-BE49-F238E27FC236}">
                <a16:creationId xmlns:a16="http://schemas.microsoft.com/office/drawing/2014/main" id="{FCF3CB3F-4BCE-DCC2-8137-FE3EEE4F7FF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05353" y="3189581"/>
            <a:ext cx="5411620" cy="2040542"/>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Tableau des réponses au formulaire Forms. Titre de la question :   Quelle est la période de l’année où vous êtes le plus actif ?  . Nombre de réponses : 11 réponses.">
            <a:extLst>
              <a:ext uri="{FF2B5EF4-FFF2-40B4-BE49-F238E27FC236}">
                <a16:creationId xmlns:a16="http://schemas.microsoft.com/office/drawing/2014/main" id="{C05D710E-0446-6302-8B60-0D14E1BC947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48401" y="5105010"/>
            <a:ext cx="4541520" cy="1760203"/>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Tableau des réponses au formulaire Forms. Titre de la question :  En haute saison (juin à septembre), à combien estimez-vous le nombre moyen de clients par jour ?  . Nombre de réponses : 11 réponses.">
            <a:extLst>
              <a:ext uri="{FF2B5EF4-FFF2-40B4-BE49-F238E27FC236}">
                <a16:creationId xmlns:a16="http://schemas.microsoft.com/office/drawing/2014/main" id="{4F9FAF08-79FF-D495-B32E-EAA9585B845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89921" y="5128171"/>
            <a:ext cx="5527052" cy="1740535"/>
          </a:xfrm>
          <a:prstGeom prst="rect">
            <a:avLst/>
          </a:prstGeom>
          <a:noFill/>
          <a:extLst>
            <a:ext uri="{909E8E84-426E-40DD-AFC4-6F175D3DCCD1}">
              <a14:hiddenFill xmlns:a14="http://schemas.microsoft.com/office/drawing/2010/main">
                <a:solidFill>
                  <a:srgbClr val="FFFFFF"/>
                </a:solidFill>
              </a14:hiddenFill>
            </a:ext>
          </a:extLst>
        </p:spPr>
      </p:pic>
      <p:sp>
        <p:nvSpPr>
          <p:cNvPr id="18" name="ZoneTexte 17">
            <a:extLst>
              <a:ext uri="{FF2B5EF4-FFF2-40B4-BE49-F238E27FC236}">
                <a16:creationId xmlns:a16="http://schemas.microsoft.com/office/drawing/2014/main" id="{7A2D9319-6C95-1171-A9B4-75F85EF6C0A5}"/>
              </a:ext>
            </a:extLst>
          </p:cNvPr>
          <p:cNvSpPr txBox="1"/>
          <p:nvPr/>
        </p:nvSpPr>
        <p:spPr>
          <a:xfrm rot="16200000">
            <a:off x="-2486906" y="3617450"/>
            <a:ext cx="6096000" cy="523220"/>
          </a:xfrm>
          <a:prstGeom prst="rect">
            <a:avLst/>
          </a:prstGeom>
          <a:noFill/>
        </p:spPr>
        <p:txBody>
          <a:bodyPr wrap="square">
            <a:spAutoFit/>
          </a:bodyPr>
          <a:lstStyle/>
          <a:p>
            <a:pPr algn="ctr"/>
            <a:r>
              <a:rPr lang="fr-FR" sz="2800" b="1" dirty="0">
                <a:solidFill>
                  <a:schemeClr val="bg1"/>
                </a:solidFill>
              </a:rPr>
              <a:t>Enquête</a:t>
            </a:r>
            <a:r>
              <a:rPr lang="fr-FR" sz="2800" dirty="0"/>
              <a:t> </a:t>
            </a:r>
            <a:r>
              <a:rPr lang="fr-FR" sz="2800" b="1" dirty="0">
                <a:solidFill>
                  <a:schemeClr val="bg1"/>
                </a:solidFill>
              </a:rPr>
              <a:t>( prestataires ) </a:t>
            </a:r>
            <a:endParaRPr lang="en-GB" sz="2800" b="1" dirty="0">
              <a:solidFill>
                <a:schemeClr val="bg1"/>
              </a:solidFill>
            </a:endParaRPr>
          </a:p>
        </p:txBody>
      </p:sp>
      <p:sp>
        <p:nvSpPr>
          <p:cNvPr id="5" name="Rectangle 4">
            <a:extLst>
              <a:ext uri="{FF2B5EF4-FFF2-40B4-BE49-F238E27FC236}">
                <a16:creationId xmlns:a16="http://schemas.microsoft.com/office/drawing/2014/main" id="{8B4DF802-1EC5-4C0C-98DE-B14CA1F748CB}"/>
              </a:ext>
            </a:extLst>
          </p:cNvPr>
          <p:cNvSpPr/>
          <p:nvPr/>
        </p:nvSpPr>
        <p:spPr>
          <a:xfrm>
            <a:off x="11612880" y="6268828"/>
            <a:ext cx="601447" cy="584775"/>
          </a:xfrm>
          <a:prstGeom prst="rect">
            <a:avLst/>
          </a:prstGeom>
        </p:spPr>
        <p:txBody>
          <a:bodyPr wrap="none">
            <a:spAutoFit/>
          </a:bodyPr>
          <a:lstStyle/>
          <a:p>
            <a:r>
              <a:rPr lang="en-US"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11</a:t>
            </a:r>
            <a:endParaRPr lang="fr-TN" sz="3200" dirty="0"/>
          </a:p>
        </p:txBody>
      </p:sp>
    </p:spTree>
    <p:extLst>
      <p:ext uri="{BB962C8B-B14F-4D97-AF65-F5344CB8AC3E}">
        <p14:creationId xmlns:p14="http://schemas.microsoft.com/office/powerpoint/2010/main" val="40087835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11" name="!!mission_big">
            <a:extLst>
              <a:ext uri="{FF2B5EF4-FFF2-40B4-BE49-F238E27FC236}">
                <a16:creationId xmlns:a16="http://schemas.microsoft.com/office/drawing/2014/main" id="{6001EAF3-99DE-071D-640E-27373C22F4EC}"/>
              </a:ext>
            </a:extLst>
          </p:cNvPr>
          <p:cNvSpPr/>
          <p:nvPr/>
        </p:nvSpPr>
        <p:spPr>
          <a:xfrm>
            <a:off x="1468834" y="2068251"/>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4" name="!!problem_big">
            <a:extLst>
              <a:ext uri="{FF2B5EF4-FFF2-40B4-BE49-F238E27FC236}">
                <a16:creationId xmlns:a16="http://schemas.microsoft.com/office/drawing/2014/main" id="{41CA0059-60D2-6D7F-A447-1DBBEF5018AE}"/>
              </a:ext>
            </a:extLst>
          </p:cNvPr>
          <p:cNvSpPr/>
          <p:nvPr/>
        </p:nvSpPr>
        <p:spPr>
          <a:xfrm>
            <a:off x="2447825" y="3364259"/>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5" name="!!solution_big">
            <a:extLst>
              <a:ext uri="{FF2B5EF4-FFF2-40B4-BE49-F238E27FC236}">
                <a16:creationId xmlns:a16="http://schemas.microsoft.com/office/drawing/2014/main" id="{01485104-FBE1-6D05-D1EB-C70693B8A671}"/>
              </a:ext>
            </a:extLst>
          </p:cNvPr>
          <p:cNvSpPr/>
          <p:nvPr/>
        </p:nvSpPr>
        <p:spPr>
          <a:xfrm>
            <a:off x="3426817" y="2068251"/>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mc:AlternateContent xmlns:mc="http://schemas.openxmlformats.org/markup-compatibility/2006" xmlns:psez="http://schemas.microsoft.com/office/powerpoint/2016/sectionzoom">
        <mc:Choice Requires="psez">
          <p:graphicFrame>
            <p:nvGraphicFramePr>
              <p:cNvPr id="54" name="Section Zoom 53">
                <a:extLst>
                  <a:ext uri="{FF2B5EF4-FFF2-40B4-BE49-F238E27FC236}">
                    <a16:creationId xmlns:a16="http://schemas.microsoft.com/office/drawing/2014/main" id="{DBC6B9C2-6600-0373-E3D5-6E3846853C35}"/>
                  </a:ext>
                </a:extLst>
              </p:cNvPr>
              <p:cNvGraphicFramePr>
                <a:graphicFrameLocks noChangeAspect="1"/>
              </p:cNvGraphicFramePr>
              <p:nvPr>
                <p:extLst>
                  <p:ext uri="{D42A27DB-BD31-4B8C-83A1-F6EECF244321}">
                    <p14:modId xmlns:p14="http://schemas.microsoft.com/office/powerpoint/2010/main" val="2916576784"/>
                  </p:ext>
                </p:extLst>
              </p:nvPr>
            </p:nvGraphicFramePr>
            <p:xfrm>
              <a:off x="1577089" y="2440294"/>
              <a:ext cx="1205890" cy="678314"/>
            </p:xfrm>
            <a:graphic>
              <a:graphicData uri="http://schemas.microsoft.com/office/powerpoint/2016/sectionzoom">
                <psez:sectionZm>
                  <psez:sectionZmObj sectionId="{88495344-40FB-4841-99CC-E364E4B3FA60}">
                    <psez:zmPr id="{2045F387-F9C1-4234-AB40-2F706D3FBEEE}" transitionDur="1000" showBg="0">
                      <p166:blipFill xmlns:p166="http://schemas.microsoft.com/office/powerpoint/2016/6/main">
                        <a:blip r:embed="rId3"/>
                        <a:stretch>
                          <a:fillRect/>
                        </a:stretch>
                      </p166:blipFill>
                      <p166:spPr xmlns:p166="http://schemas.microsoft.com/office/powerpoint/2016/6/main">
                        <a:xfrm>
                          <a:off x="0" y="0"/>
                          <a:ext cx="1205890" cy="678314"/>
                        </a:xfrm>
                        <a:prstGeom prst="rect">
                          <a:avLst/>
                        </a:prstGeom>
                        <a:ln w="3175">
                          <a:noFill/>
                        </a:ln>
                      </p166:spPr>
                    </psez:zmPr>
                  </psez:sectionZmObj>
                </psez:sectionZm>
              </a:graphicData>
            </a:graphic>
          </p:graphicFrame>
        </mc:Choice>
        <mc:Fallback xmlns="">
          <p:pic>
            <p:nvPicPr>
              <p:cNvPr id="54" name="Section Zoom 53">
                <a:hlinkClick r:id="rId7" action="ppaction://hlinksldjump"/>
                <a:extLst>
                  <a:ext uri="{FF2B5EF4-FFF2-40B4-BE49-F238E27FC236}">
                    <a16:creationId xmlns:a16="http://schemas.microsoft.com/office/drawing/2014/main" id="{DBC6B9C2-6600-0373-E3D5-6E3846853C35}"/>
                  </a:ext>
                </a:extLst>
              </p:cNvPr>
              <p:cNvPicPr>
                <a:picLocks noGrp="1" noRot="1" noChangeAspect="1" noMove="1" noResize="1" noEditPoints="1" noAdjustHandles="1" noChangeArrowheads="1" noChangeShapeType="1"/>
              </p:cNvPicPr>
              <p:nvPr/>
            </p:nvPicPr>
            <p:blipFill>
              <a:blip r:embed="rId8"/>
              <a:stretch>
                <a:fillRect/>
              </a:stretch>
            </p:blipFill>
            <p:spPr>
              <a:xfrm>
                <a:off x="1577089" y="2440294"/>
                <a:ext cx="1205890" cy="678314"/>
              </a:xfrm>
              <a:prstGeom prst="rect">
                <a:avLst/>
              </a:prstGeom>
              <a:ln w="3175">
                <a:noFill/>
              </a:ln>
            </p:spPr>
          </p:pic>
        </mc:Fallback>
      </mc:AlternateContent>
      <p:sp useBgFill="1">
        <p:nvSpPr>
          <p:cNvPr id="21" name="!!potential_big">
            <a:extLst>
              <a:ext uri="{FF2B5EF4-FFF2-40B4-BE49-F238E27FC236}">
                <a16:creationId xmlns:a16="http://schemas.microsoft.com/office/drawing/2014/main" id="{451ADC09-786B-7817-12A7-45589629C4FD}"/>
              </a:ext>
            </a:extLst>
          </p:cNvPr>
          <p:cNvSpPr/>
          <p:nvPr/>
        </p:nvSpPr>
        <p:spPr>
          <a:xfrm>
            <a:off x="4405808" y="3364259"/>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29" name="!!model_big">
            <a:extLst>
              <a:ext uri="{FF2B5EF4-FFF2-40B4-BE49-F238E27FC236}">
                <a16:creationId xmlns:a16="http://schemas.microsoft.com/office/drawing/2014/main" id="{D0B663A2-5250-7360-D77D-BA82684250B9}"/>
              </a:ext>
            </a:extLst>
          </p:cNvPr>
          <p:cNvSpPr/>
          <p:nvPr/>
        </p:nvSpPr>
        <p:spPr>
          <a:xfrm>
            <a:off x="5384800" y="2068251"/>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40" name="!!growth_big">
            <a:extLst>
              <a:ext uri="{FF2B5EF4-FFF2-40B4-BE49-F238E27FC236}">
                <a16:creationId xmlns:a16="http://schemas.microsoft.com/office/drawing/2014/main" id="{1E4D5046-D93E-1283-7C95-8297912863DF}"/>
              </a:ext>
            </a:extLst>
          </p:cNvPr>
          <p:cNvSpPr/>
          <p:nvPr/>
        </p:nvSpPr>
        <p:spPr>
          <a:xfrm>
            <a:off x="6363791" y="3364259"/>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41" name="!!competition_big">
            <a:extLst>
              <a:ext uri="{FF2B5EF4-FFF2-40B4-BE49-F238E27FC236}">
                <a16:creationId xmlns:a16="http://schemas.microsoft.com/office/drawing/2014/main" id="{CB47AF06-08C1-C824-3CDC-6718A25A5568}"/>
              </a:ext>
            </a:extLst>
          </p:cNvPr>
          <p:cNvSpPr/>
          <p:nvPr/>
        </p:nvSpPr>
        <p:spPr>
          <a:xfrm>
            <a:off x="7342783" y="2068251"/>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51" name="!!finanvials_big">
            <a:extLst>
              <a:ext uri="{FF2B5EF4-FFF2-40B4-BE49-F238E27FC236}">
                <a16:creationId xmlns:a16="http://schemas.microsoft.com/office/drawing/2014/main" id="{C1A01352-BCE7-17AB-4430-ACC0B0082F50}"/>
              </a:ext>
            </a:extLst>
          </p:cNvPr>
          <p:cNvSpPr/>
          <p:nvPr/>
        </p:nvSpPr>
        <p:spPr>
          <a:xfrm>
            <a:off x="8321775" y="3364259"/>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52" name="!!team_big">
            <a:extLst>
              <a:ext uri="{FF2B5EF4-FFF2-40B4-BE49-F238E27FC236}">
                <a16:creationId xmlns:a16="http://schemas.microsoft.com/office/drawing/2014/main" id="{B302DE39-6CAA-0299-5B01-34FB4ACE7015}"/>
              </a:ext>
            </a:extLst>
          </p:cNvPr>
          <p:cNvSpPr/>
          <p:nvPr/>
        </p:nvSpPr>
        <p:spPr>
          <a:xfrm>
            <a:off x="9300766" y="2068251"/>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p:nvSpPr>
          <p:cNvPr id="76" name="Slide Title">
            <a:extLst>
              <a:ext uri="{FF2B5EF4-FFF2-40B4-BE49-F238E27FC236}">
                <a16:creationId xmlns:a16="http://schemas.microsoft.com/office/drawing/2014/main" id="{F1C16585-D5BD-D317-3939-4561F6529330}"/>
              </a:ext>
            </a:extLst>
          </p:cNvPr>
          <p:cNvSpPr txBox="1"/>
          <p:nvPr/>
        </p:nvSpPr>
        <p:spPr>
          <a:xfrm>
            <a:off x="5240284" y="278712"/>
            <a:ext cx="1939065" cy="403828"/>
          </a:xfrm>
          <a:prstGeom prst="rect">
            <a:avLst/>
          </a:prstGeom>
          <a:noFill/>
        </p:spPr>
        <p:txBody>
          <a:bodyPr wrap="square" lIns="0">
            <a:spAutoFit/>
          </a:bodyPr>
          <a:lstStyle>
            <a:defPPr>
              <a:defRPr lang="en-US"/>
            </a:defPPr>
            <a:lvl1pPr algn="ctr">
              <a:defRPr sz="5400">
                <a:solidFill>
                  <a:schemeClr val="bg1"/>
                </a:solidFill>
                <a:latin typeface="Orbitron Black" pitchFamily="2" charset="0"/>
              </a:defRPr>
            </a:lvl1pPr>
          </a:lstStyle>
          <a:p>
            <a:pPr lvl="0">
              <a:lnSpc>
                <a:spcPct val="55357"/>
              </a:lnSpc>
              <a:defRPr/>
            </a:pPr>
            <a:r>
              <a:rPr lang="fr-FR" sz="3200" i="1" spc="-150" dirty="0">
                <a:solidFill>
                  <a:prstClr val="white"/>
                </a:solidFill>
                <a:effectLst>
                  <a:outerShdw blurRad="88900" dist="88900" dir="2700000" algn="tl" rotWithShape="0">
                    <a:prstClr val="black">
                      <a:alpha val="50000"/>
                    </a:prstClr>
                  </a:outerShdw>
                </a:effectLst>
                <a:latin typeface="Playfair Display" pitchFamily="2" charset="0"/>
              </a:rPr>
              <a:t>PLAN</a:t>
            </a:r>
            <a:endParaRPr lang="en-US" sz="3200" i="1" spc="-150" dirty="0">
              <a:solidFill>
                <a:prstClr val="white"/>
              </a:solidFill>
              <a:effectLst>
                <a:outerShdw blurRad="88900" dist="88900" dir="2700000" algn="tl" rotWithShape="0">
                  <a:prstClr val="black">
                    <a:alpha val="50000"/>
                  </a:prstClr>
                </a:outerShdw>
              </a:effectLst>
              <a:latin typeface="Playfair Display" pitchFamily="2" charset="0"/>
            </a:endParaRPr>
          </a:p>
        </p:txBody>
      </p:sp>
      <p:sp useBgFill="1">
        <p:nvSpPr>
          <p:cNvPr id="78" name="Oval 77">
            <a:extLst>
              <a:ext uri="{FF2B5EF4-FFF2-40B4-BE49-F238E27FC236}">
                <a16:creationId xmlns:a16="http://schemas.microsoft.com/office/drawing/2014/main" id="{C9B6FF81-6FE6-C909-6253-D0FEA76AB50A}"/>
              </a:ext>
            </a:extLst>
          </p:cNvPr>
          <p:cNvSpPr/>
          <p:nvPr/>
        </p:nvSpPr>
        <p:spPr>
          <a:xfrm>
            <a:off x="1926241" y="186772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grpSp>
        <p:nvGrpSpPr>
          <p:cNvPr id="80" name="!!problem">
            <a:extLst>
              <a:ext uri="{FF2B5EF4-FFF2-40B4-BE49-F238E27FC236}">
                <a16:creationId xmlns:a16="http://schemas.microsoft.com/office/drawing/2014/main" id="{9B6C9727-7E1C-F116-6F90-1D7429A07540}"/>
              </a:ext>
            </a:extLst>
          </p:cNvPr>
          <p:cNvGrpSpPr/>
          <p:nvPr/>
        </p:nvGrpSpPr>
        <p:grpSpPr>
          <a:xfrm>
            <a:off x="3898222" y="1861639"/>
            <a:ext cx="507586" cy="507586"/>
            <a:chOff x="2240169" y="4083721"/>
            <a:chExt cx="507586" cy="507586"/>
          </a:xfrm>
        </p:grpSpPr>
        <p:sp useBgFill="1">
          <p:nvSpPr>
            <p:cNvPr id="81" name="Oval 80">
              <a:extLst>
                <a:ext uri="{FF2B5EF4-FFF2-40B4-BE49-F238E27FC236}">
                  <a16:creationId xmlns:a16="http://schemas.microsoft.com/office/drawing/2014/main" id="{98463B26-6FCE-4CAB-7C5B-843FA4A386F2}"/>
                </a:ext>
              </a:extLst>
            </p:cNvPr>
            <p:cNvSpPr/>
            <p:nvPr/>
          </p:nvSpPr>
          <p:spPr>
            <a:xfrm>
              <a:off x="2240169" y="408372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82" name="Graphic 81">
              <a:extLst>
                <a:ext uri="{FF2B5EF4-FFF2-40B4-BE49-F238E27FC236}">
                  <a16:creationId xmlns:a16="http://schemas.microsoft.com/office/drawing/2014/main" id="{875A70AF-DD72-53CD-B890-AA5606A5DC14}"/>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2367962" y="4211514"/>
              <a:ext cx="252000" cy="252000"/>
            </a:xfrm>
            <a:prstGeom prst="rect">
              <a:avLst/>
            </a:prstGeom>
          </p:spPr>
        </p:pic>
      </p:grpSp>
      <p:grpSp>
        <p:nvGrpSpPr>
          <p:cNvPr id="83" name="!!solution">
            <a:extLst>
              <a:ext uri="{FF2B5EF4-FFF2-40B4-BE49-F238E27FC236}">
                <a16:creationId xmlns:a16="http://schemas.microsoft.com/office/drawing/2014/main" id="{02C93F58-6DE8-870C-D1AE-B70C074E0601}"/>
              </a:ext>
            </a:extLst>
          </p:cNvPr>
          <p:cNvGrpSpPr/>
          <p:nvPr/>
        </p:nvGrpSpPr>
        <p:grpSpPr>
          <a:xfrm>
            <a:off x="9758173" y="1867871"/>
            <a:ext cx="507586" cy="507586"/>
            <a:chOff x="3825777" y="2263184"/>
            <a:chExt cx="507586" cy="507586"/>
          </a:xfrm>
        </p:grpSpPr>
        <p:sp useBgFill="1">
          <p:nvSpPr>
            <p:cNvPr id="84" name="Oval 83">
              <a:extLst>
                <a:ext uri="{FF2B5EF4-FFF2-40B4-BE49-F238E27FC236}">
                  <a16:creationId xmlns:a16="http://schemas.microsoft.com/office/drawing/2014/main" id="{0F414691-D85D-55A6-6399-3CD06D7FCFFF}"/>
                </a:ext>
              </a:extLst>
            </p:cNvPr>
            <p:cNvSpPr/>
            <p:nvPr/>
          </p:nvSpPr>
          <p:spPr>
            <a:xfrm>
              <a:off x="3825777" y="2263184"/>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85" name="Graphic 84">
              <a:extLst>
                <a:ext uri="{FF2B5EF4-FFF2-40B4-BE49-F238E27FC236}">
                  <a16:creationId xmlns:a16="http://schemas.microsoft.com/office/drawing/2014/main" id="{5CF24868-AC3E-1F7F-E655-7F620EAAA3DB}"/>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3953570" y="2390977"/>
              <a:ext cx="252000" cy="252000"/>
            </a:xfrm>
            <a:prstGeom prst="rect">
              <a:avLst/>
            </a:prstGeom>
          </p:spPr>
        </p:pic>
      </p:grpSp>
      <p:grpSp>
        <p:nvGrpSpPr>
          <p:cNvPr id="86" name="!!potential">
            <a:extLst>
              <a:ext uri="{FF2B5EF4-FFF2-40B4-BE49-F238E27FC236}">
                <a16:creationId xmlns:a16="http://schemas.microsoft.com/office/drawing/2014/main" id="{76D5D0DE-AA33-7B2C-C884-B10D4689429A}"/>
              </a:ext>
            </a:extLst>
          </p:cNvPr>
          <p:cNvGrpSpPr/>
          <p:nvPr/>
        </p:nvGrpSpPr>
        <p:grpSpPr>
          <a:xfrm>
            <a:off x="4879531" y="4480477"/>
            <a:ext cx="507586" cy="507586"/>
            <a:chOff x="4797684" y="4481585"/>
            <a:chExt cx="507586" cy="507586"/>
          </a:xfrm>
        </p:grpSpPr>
        <p:sp useBgFill="1">
          <p:nvSpPr>
            <p:cNvPr id="87" name="Oval 86">
              <a:extLst>
                <a:ext uri="{FF2B5EF4-FFF2-40B4-BE49-F238E27FC236}">
                  <a16:creationId xmlns:a16="http://schemas.microsoft.com/office/drawing/2014/main" id="{00A96CE1-5985-A4D9-DABC-EA7FB44BC0CC}"/>
                </a:ext>
              </a:extLst>
            </p:cNvPr>
            <p:cNvSpPr/>
            <p:nvPr/>
          </p:nvSpPr>
          <p:spPr>
            <a:xfrm>
              <a:off x="4797684" y="4481585"/>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88" name="Graphic 87">
              <a:extLst>
                <a:ext uri="{FF2B5EF4-FFF2-40B4-BE49-F238E27FC236}">
                  <a16:creationId xmlns:a16="http://schemas.microsoft.com/office/drawing/2014/main" id="{2A1CE0DD-DACD-661A-1B04-6016859A9D91}"/>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4925477" y="4609378"/>
              <a:ext cx="252000" cy="252000"/>
            </a:xfrm>
            <a:prstGeom prst="rect">
              <a:avLst/>
            </a:prstGeom>
          </p:spPr>
        </p:pic>
      </p:grpSp>
      <p:grpSp>
        <p:nvGrpSpPr>
          <p:cNvPr id="89" name="!!model">
            <a:extLst>
              <a:ext uri="{FF2B5EF4-FFF2-40B4-BE49-F238E27FC236}">
                <a16:creationId xmlns:a16="http://schemas.microsoft.com/office/drawing/2014/main" id="{566EDD2E-22AC-6031-0455-A2B2DCCA440F}"/>
              </a:ext>
            </a:extLst>
          </p:cNvPr>
          <p:cNvGrpSpPr/>
          <p:nvPr/>
        </p:nvGrpSpPr>
        <p:grpSpPr>
          <a:xfrm>
            <a:off x="8779182" y="4480477"/>
            <a:ext cx="507586" cy="507586"/>
            <a:chOff x="5832785" y="1868829"/>
            <a:chExt cx="507586" cy="507586"/>
          </a:xfrm>
        </p:grpSpPr>
        <p:sp useBgFill="1">
          <p:nvSpPr>
            <p:cNvPr id="90" name="Oval 89">
              <a:extLst>
                <a:ext uri="{FF2B5EF4-FFF2-40B4-BE49-F238E27FC236}">
                  <a16:creationId xmlns:a16="http://schemas.microsoft.com/office/drawing/2014/main" id="{388129E3-63DA-5454-7CF3-03B8C87AAE37}"/>
                </a:ext>
              </a:extLst>
            </p:cNvPr>
            <p:cNvSpPr/>
            <p:nvPr/>
          </p:nvSpPr>
          <p:spPr>
            <a:xfrm>
              <a:off x="5832785" y="1868829"/>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91" name="Graphic 90" descr="Dollar">
              <a:extLst>
                <a:ext uri="{FF2B5EF4-FFF2-40B4-BE49-F238E27FC236}">
                  <a16:creationId xmlns:a16="http://schemas.microsoft.com/office/drawing/2014/main" id="{5D96F2BD-B628-D112-2E38-FB30D72EF76F}"/>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5960578" y="1996622"/>
              <a:ext cx="252000" cy="252000"/>
            </a:xfrm>
            <a:prstGeom prst="rect">
              <a:avLst/>
            </a:prstGeom>
          </p:spPr>
        </p:pic>
      </p:grpSp>
      <p:grpSp>
        <p:nvGrpSpPr>
          <p:cNvPr id="92" name="!!growth">
            <a:extLst>
              <a:ext uri="{FF2B5EF4-FFF2-40B4-BE49-F238E27FC236}">
                <a16:creationId xmlns:a16="http://schemas.microsoft.com/office/drawing/2014/main" id="{4799AE04-E682-847B-C0E1-01565EE45133}"/>
              </a:ext>
            </a:extLst>
          </p:cNvPr>
          <p:cNvGrpSpPr/>
          <p:nvPr/>
        </p:nvGrpSpPr>
        <p:grpSpPr>
          <a:xfrm>
            <a:off x="7791317" y="1861639"/>
            <a:ext cx="507586" cy="507586"/>
            <a:chOff x="6811776" y="4481585"/>
            <a:chExt cx="507586" cy="507586"/>
          </a:xfrm>
        </p:grpSpPr>
        <p:sp useBgFill="1">
          <p:nvSpPr>
            <p:cNvPr id="93" name="Oval 92">
              <a:extLst>
                <a:ext uri="{FF2B5EF4-FFF2-40B4-BE49-F238E27FC236}">
                  <a16:creationId xmlns:a16="http://schemas.microsoft.com/office/drawing/2014/main" id="{45655F16-2ECE-EDA5-6F1F-965804C74FBE}"/>
                </a:ext>
              </a:extLst>
            </p:cNvPr>
            <p:cNvSpPr/>
            <p:nvPr/>
          </p:nvSpPr>
          <p:spPr>
            <a:xfrm>
              <a:off x="6811776" y="4481585"/>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94" name="Graphic 93">
              <a:extLst>
                <a:ext uri="{FF2B5EF4-FFF2-40B4-BE49-F238E27FC236}">
                  <a16:creationId xmlns:a16="http://schemas.microsoft.com/office/drawing/2014/main" id="{26471ED8-B281-8A51-3506-E86AA66F87E3}"/>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6939569" y="4609378"/>
              <a:ext cx="252000" cy="252000"/>
            </a:xfrm>
            <a:prstGeom prst="rect">
              <a:avLst/>
            </a:prstGeom>
          </p:spPr>
        </p:pic>
      </p:grpSp>
      <p:grpSp>
        <p:nvGrpSpPr>
          <p:cNvPr id="95" name="!!competition">
            <a:extLst>
              <a:ext uri="{FF2B5EF4-FFF2-40B4-BE49-F238E27FC236}">
                <a16:creationId xmlns:a16="http://schemas.microsoft.com/office/drawing/2014/main" id="{7B3CFE44-CCB2-0E22-A954-EDDDAD190D76}"/>
              </a:ext>
            </a:extLst>
          </p:cNvPr>
          <p:cNvGrpSpPr/>
          <p:nvPr/>
        </p:nvGrpSpPr>
        <p:grpSpPr>
          <a:xfrm>
            <a:off x="5830025" y="1866728"/>
            <a:ext cx="507586" cy="507586"/>
            <a:chOff x="7790768" y="1868829"/>
            <a:chExt cx="507586" cy="507586"/>
          </a:xfrm>
        </p:grpSpPr>
        <p:sp useBgFill="1">
          <p:nvSpPr>
            <p:cNvPr id="96" name="Oval 95">
              <a:extLst>
                <a:ext uri="{FF2B5EF4-FFF2-40B4-BE49-F238E27FC236}">
                  <a16:creationId xmlns:a16="http://schemas.microsoft.com/office/drawing/2014/main" id="{D788B742-9A70-2B7D-B38B-7FF78CADE6D8}"/>
                </a:ext>
              </a:extLst>
            </p:cNvPr>
            <p:cNvSpPr/>
            <p:nvPr/>
          </p:nvSpPr>
          <p:spPr>
            <a:xfrm>
              <a:off x="7790768" y="1868829"/>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97" name="Graphic 96">
              <a:extLst>
                <a:ext uri="{FF2B5EF4-FFF2-40B4-BE49-F238E27FC236}">
                  <a16:creationId xmlns:a16="http://schemas.microsoft.com/office/drawing/2014/main" id="{79C69A43-9E36-291C-6CF0-244B275780D1}"/>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a:off x="7918561" y="1996622"/>
              <a:ext cx="252000" cy="252000"/>
            </a:xfrm>
            <a:prstGeom prst="rect">
              <a:avLst/>
            </a:prstGeom>
          </p:spPr>
        </p:pic>
      </p:grpSp>
      <p:grpSp>
        <p:nvGrpSpPr>
          <p:cNvPr id="98" name="!!financials">
            <a:extLst>
              <a:ext uri="{FF2B5EF4-FFF2-40B4-BE49-F238E27FC236}">
                <a16:creationId xmlns:a16="http://schemas.microsoft.com/office/drawing/2014/main" id="{E0A6DEA5-CA59-57A5-0E30-5A4162D13094}"/>
              </a:ext>
            </a:extLst>
          </p:cNvPr>
          <p:cNvGrpSpPr/>
          <p:nvPr/>
        </p:nvGrpSpPr>
        <p:grpSpPr>
          <a:xfrm>
            <a:off x="6835197" y="4480477"/>
            <a:ext cx="507586" cy="507586"/>
            <a:chOff x="8769760" y="4481585"/>
            <a:chExt cx="507586" cy="507586"/>
          </a:xfrm>
        </p:grpSpPr>
        <p:sp useBgFill="1">
          <p:nvSpPr>
            <p:cNvPr id="99" name="Oval 98">
              <a:extLst>
                <a:ext uri="{FF2B5EF4-FFF2-40B4-BE49-F238E27FC236}">
                  <a16:creationId xmlns:a16="http://schemas.microsoft.com/office/drawing/2014/main" id="{3094A7F4-7D95-3CCB-D7F6-F42074CE8F7B}"/>
                </a:ext>
              </a:extLst>
            </p:cNvPr>
            <p:cNvSpPr/>
            <p:nvPr/>
          </p:nvSpPr>
          <p:spPr>
            <a:xfrm>
              <a:off x="8769760" y="4481585"/>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00" name="Graphic 99">
              <a:extLst>
                <a:ext uri="{FF2B5EF4-FFF2-40B4-BE49-F238E27FC236}">
                  <a16:creationId xmlns:a16="http://schemas.microsoft.com/office/drawing/2014/main" id="{4409B0E0-3844-50FF-9E5A-258BBD79A43E}"/>
                </a:ext>
              </a:extLst>
            </p:cNvPr>
            <p:cNvPicPr>
              <a:picLocks noChangeAspect="1"/>
            </p:cNvPicPr>
            <p:nvPr/>
          </p:nvPicPr>
          <p:blipFill>
            <a:blip r:embed="rId21">
              <a:extLst>
                <a:ext uri="{96DAC541-7B7A-43D3-8B79-37D633B846F1}">
                  <asvg:svgBlip xmlns:asvg="http://schemas.microsoft.com/office/drawing/2016/SVG/main" r:embed="rId22"/>
                </a:ext>
              </a:extLst>
            </a:blip>
            <a:srcRect/>
            <a:stretch/>
          </p:blipFill>
          <p:spPr>
            <a:xfrm>
              <a:off x="8897553" y="4609378"/>
              <a:ext cx="252000" cy="252000"/>
            </a:xfrm>
            <a:prstGeom prst="rect">
              <a:avLst/>
            </a:prstGeom>
          </p:spPr>
        </p:pic>
      </p:grpSp>
      <p:grpSp>
        <p:nvGrpSpPr>
          <p:cNvPr id="101" name="!!team">
            <a:extLst>
              <a:ext uri="{FF2B5EF4-FFF2-40B4-BE49-F238E27FC236}">
                <a16:creationId xmlns:a16="http://schemas.microsoft.com/office/drawing/2014/main" id="{8E61FCE0-E10A-1420-082C-CE9DBF73E0CA}"/>
              </a:ext>
            </a:extLst>
          </p:cNvPr>
          <p:cNvGrpSpPr/>
          <p:nvPr/>
        </p:nvGrpSpPr>
        <p:grpSpPr>
          <a:xfrm>
            <a:off x="2891234" y="4480477"/>
            <a:ext cx="507586" cy="507586"/>
            <a:chOff x="9748751" y="1868829"/>
            <a:chExt cx="507586" cy="507586"/>
          </a:xfrm>
        </p:grpSpPr>
        <p:sp useBgFill="1">
          <p:nvSpPr>
            <p:cNvPr id="102" name="Oval 101">
              <a:extLst>
                <a:ext uri="{FF2B5EF4-FFF2-40B4-BE49-F238E27FC236}">
                  <a16:creationId xmlns:a16="http://schemas.microsoft.com/office/drawing/2014/main" id="{42463592-5F51-250B-F652-A79CA406F0C6}"/>
                </a:ext>
              </a:extLst>
            </p:cNvPr>
            <p:cNvSpPr/>
            <p:nvPr/>
          </p:nvSpPr>
          <p:spPr>
            <a:xfrm>
              <a:off x="9748751" y="1868829"/>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03" name="Graphic 102">
              <a:extLst>
                <a:ext uri="{FF2B5EF4-FFF2-40B4-BE49-F238E27FC236}">
                  <a16:creationId xmlns:a16="http://schemas.microsoft.com/office/drawing/2014/main" id="{767B9916-BE31-3F3A-5EEC-B9649AD83CC9}"/>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a:off x="9876544" y="1996622"/>
              <a:ext cx="252000" cy="252000"/>
            </a:xfrm>
            <a:prstGeom prst="rect">
              <a:avLst/>
            </a:prstGeom>
          </p:spPr>
        </p:pic>
      </p:grpSp>
      <mc:AlternateContent xmlns:mc="http://schemas.openxmlformats.org/markup-compatibility/2006" xmlns:psez="http://schemas.microsoft.com/office/powerpoint/2016/sectionzoom">
        <mc:Choice Requires="psez">
          <p:graphicFrame>
            <p:nvGraphicFramePr>
              <p:cNvPr id="7" name="Section Zoom 6">
                <a:extLst>
                  <a:ext uri="{FF2B5EF4-FFF2-40B4-BE49-F238E27FC236}">
                    <a16:creationId xmlns:a16="http://schemas.microsoft.com/office/drawing/2014/main" id="{9C812770-1A6C-DA5B-1711-1DBE2F511457}"/>
                  </a:ext>
                </a:extLst>
              </p:cNvPr>
              <p:cNvGraphicFramePr>
                <a:graphicFrameLocks noChangeAspect="1"/>
              </p:cNvGraphicFramePr>
              <p:nvPr>
                <p:extLst>
                  <p:ext uri="{D42A27DB-BD31-4B8C-83A1-F6EECF244321}">
                    <p14:modId xmlns:p14="http://schemas.microsoft.com/office/powerpoint/2010/main" val="1753385617"/>
                  </p:ext>
                </p:extLst>
              </p:nvPr>
            </p:nvGraphicFramePr>
            <p:xfrm>
              <a:off x="2556079" y="3736302"/>
              <a:ext cx="1205892" cy="678314"/>
            </p:xfrm>
            <a:graphic>
              <a:graphicData uri="http://schemas.microsoft.com/office/powerpoint/2016/sectionzoom">
                <psez:sectionZm>
                  <psez:sectionZmObj sectionId="{89DC3976-4114-4C72-A3F7-CD5F9D4A7E2B}">
                    <psez:zmPr id="{589C5D53-314B-45D2-A22D-40EF9D54BAAF}" transitionDur="1000" showBg="0">
                      <p166:blipFill xmlns:p166="http://schemas.microsoft.com/office/powerpoint/2016/6/main">
                        <a:blip r:embed="rId25"/>
                        <a:stretch>
                          <a:fillRect/>
                        </a:stretch>
                      </p166:blipFill>
                      <p166:spPr xmlns:p166="http://schemas.microsoft.com/office/powerpoint/2016/6/main">
                        <a:xfrm>
                          <a:off x="0" y="0"/>
                          <a:ext cx="1205892" cy="678314"/>
                        </a:xfrm>
                        <a:prstGeom prst="rect">
                          <a:avLst/>
                        </a:prstGeom>
                        <a:ln w="3175">
                          <a:noFill/>
                        </a:ln>
                      </p166:spPr>
                    </psez:zmPr>
                  </psez:sectionZmObj>
                </psez:sectionZm>
              </a:graphicData>
            </a:graphic>
          </p:graphicFrame>
        </mc:Choice>
        <mc:Fallback xmlns="">
          <p:pic>
            <p:nvPicPr>
              <p:cNvPr id="7" name="Section Zoom 6">
                <a:hlinkClick r:id="rId28" action="ppaction://hlinksldjump"/>
                <a:extLst>
                  <a:ext uri="{FF2B5EF4-FFF2-40B4-BE49-F238E27FC236}">
                    <a16:creationId xmlns:a16="http://schemas.microsoft.com/office/drawing/2014/main" id="{9C812770-1A6C-DA5B-1711-1DBE2F511457}"/>
                  </a:ext>
                </a:extLst>
              </p:cNvPr>
              <p:cNvPicPr>
                <a:picLocks noGrp="1" noRot="1" noChangeAspect="1" noMove="1" noResize="1" noEditPoints="1" noAdjustHandles="1" noChangeArrowheads="1" noChangeShapeType="1"/>
              </p:cNvPicPr>
              <p:nvPr/>
            </p:nvPicPr>
            <p:blipFill>
              <a:blip r:embed="rId29"/>
              <a:stretch>
                <a:fillRect/>
              </a:stretch>
            </p:blipFill>
            <p:spPr>
              <a:xfrm>
                <a:off x="2556079" y="3736302"/>
                <a:ext cx="1205892" cy="678314"/>
              </a:xfrm>
              <a:prstGeom prst="rect">
                <a:avLst/>
              </a:prstGeom>
              <a:ln w="3175">
                <a:noFill/>
              </a:ln>
            </p:spPr>
          </p:pic>
        </mc:Fallback>
      </mc:AlternateContent>
      <mc:AlternateContent xmlns:mc="http://schemas.openxmlformats.org/markup-compatibility/2006" xmlns:psez="http://schemas.microsoft.com/office/powerpoint/2016/sectionzoom">
        <mc:Choice Requires="psez">
          <p:graphicFrame>
            <p:nvGraphicFramePr>
              <p:cNvPr id="10" name="Section Zoom 9">
                <a:extLst>
                  <a:ext uri="{FF2B5EF4-FFF2-40B4-BE49-F238E27FC236}">
                    <a16:creationId xmlns:a16="http://schemas.microsoft.com/office/drawing/2014/main" id="{A7B5DE9F-77DA-2216-24D5-A7E51426B6E6}"/>
                  </a:ext>
                </a:extLst>
              </p:cNvPr>
              <p:cNvGraphicFramePr>
                <a:graphicFrameLocks noChangeAspect="1"/>
              </p:cNvGraphicFramePr>
              <p:nvPr>
                <p:extLst>
                  <p:ext uri="{D42A27DB-BD31-4B8C-83A1-F6EECF244321}">
                    <p14:modId xmlns:p14="http://schemas.microsoft.com/office/powerpoint/2010/main" val="590615241"/>
                  </p:ext>
                </p:extLst>
              </p:nvPr>
            </p:nvGraphicFramePr>
            <p:xfrm>
              <a:off x="3535071" y="2440294"/>
              <a:ext cx="1205892" cy="678314"/>
            </p:xfrm>
            <a:graphic>
              <a:graphicData uri="http://schemas.microsoft.com/office/powerpoint/2016/sectionzoom">
                <psez:sectionZm>
                  <psez:sectionZmObj sectionId="{B0161835-6204-4266-8552-F3667AA67871}">
                    <psez:zmPr id="{8063EAC8-A51B-4716-95F3-8D194DDEC352}" transitionDur="1000" showBg="0">
                      <p166:blipFill xmlns:p166="http://schemas.microsoft.com/office/powerpoint/2016/6/main">
                        <a:blip r:embed="rId30"/>
                        <a:stretch>
                          <a:fillRect/>
                        </a:stretch>
                      </p166:blipFill>
                      <p166:spPr xmlns:p166="http://schemas.microsoft.com/office/powerpoint/2016/6/main">
                        <a:xfrm>
                          <a:off x="0" y="0"/>
                          <a:ext cx="1205892" cy="678314"/>
                        </a:xfrm>
                        <a:prstGeom prst="rect">
                          <a:avLst/>
                        </a:prstGeom>
                        <a:ln w="3175">
                          <a:noFill/>
                        </a:ln>
                      </p166:spPr>
                    </psez:zmPr>
                  </psez:sectionZmObj>
                </psez:sectionZm>
              </a:graphicData>
            </a:graphic>
          </p:graphicFrame>
        </mc:Choice>
        <mc:Fallback xmlns="">
          <p:pic>
            <p:nvPicPr>
              <p:cNvPr id="10" name="Section Zoom 9">
                <a:hlinkClick r:id="rId33" action="ppaction://hlinksldjump"/>
                <a:extLst>
                  <a:ext uri="{FF2B5EF4-FFF2-40B4-BE49-F238E27FC236}">
                    <a16:creationId xmlns:a16="http://schemas.microsoft.com/office/drawing/2014/main" id="{A7B5DE9F-77DA-2216-24D5-A7E51426B6E6}"/>
                  </a:ext>
                </a:extLst>
              </p:cNvPr>
              <p:cNvPicPr>
                <a:picLocks noGrp="1" noRot="1" noChangeAspect="1" noMove="1" noResize="1" noEditPoints="1" noAdjustHandles="1" noChangeArrowheads="1" noChangeShapeType="1"/>
              </p:cNvPicPr>
              <p:nvPr/>
            </p:nvPicPr>
            <p:blipFill>
              <a:blip r:embed="rId34"/>
              <a:stretch>
                <a:fillRect/>
              </a:stretch>
            </p:blipFill>
            <p:spPr>
              <a:xfrm>
                <a:off x="3535071" y="2440294"/>
                <a:ext cx="1205892" cy="678314"/>
              </a:xfrm>
              <a:prstGeom prst="rect">
                <a:avLst/>
              </a:prstGeom>
              <a:ln w="3175">
                <a:noFill/>
              </a:ln>
            </p:spPr>
          </p:pic>
        </mc:Fallback>
      </mc:AlternateContent>
      <mc:AlternateContent xmlns:mc="http://schemas.openxmlformats.org/markup-compatibility/2006" xmlns:psez="http://schemas.microsoft.com/office/powerpoint/2016/sectionzoom">
        <mc:Choice Requires="psez">
          <p:graphicFrame>
            <p:nvGraphicFramePr>
              <p:cNvPr id="13" name="Section Zoom 12">
                <a:extLst>
                  <a:ext uri="{FF2B5EF4-FFF2-40B4-BE49-F238E27FC236}">
                    <a16:creationId xmlns:a16="http://schemas.microsoft.com/office/drawing/2014/main" id="{8C693734-C934-C86F-DBF3-51A83A14962D}"/>
                  </a:ext>
                </a:extLst>
              </p:cNvPr>
              <p:cNvGraphicFramePr>
                <a:graphicFrameLocks noChangeAspect="1"/>
              </p:cNvGraphicFramePr>
              <p:nvPr>
                <p:extLst>
                  <p:ext uri="{D42A27DB-BD31-4B8C-83A1-F6EECF244321}">
                    <p14:modId xmlns:p14="http://schemas.microsoft.com/office/powerpoint/2010/main" val="3940670081"/>
                  </p:ext>
                </p:extLst>
              </p:nvPr>
            </p:nvGraphicFramePr>
            <p:xfrm>
              <a:off x="4514062" y="3736302"/>
              <a:ext cx="1205892" cy="678314"/>
            </p:xfrm>
            <a:graphic>
              <a:graphicData uri="http://schemas.microsoft.com/office/powerpoint/2016/sectionzoom">
                <psez:sectionZm>
                  <psez:sectionZmObj sectionId="{B78F869A-DB52-4C0F-9771-93BD0B0C77E6}">
                    <psez:zmPr id="{25F3C81B-8628-4BDC-A625-35EC4F6BCABF}" transitionDur="1000" showBg="0">
                      <p166:blipFill xmlns:p166="http://schemas.microsoft.com/office/powerpoint/2016/6/main">
                        <a:blip r:embed="rId35"/>
                        <a:stretch>
                          <a:fillRect/>
                        </a:stretch>
                      </p166:blipFill>
                      <p166:spPr xmlns:p166="http://schemas.microsoft.com/office/powerpoint/2016/6/main">
                        <a:xfrm>
                          <a:off x="0" y="0"/>
                          <a:ext cx="1205892" cy="678314"/>
                        </a:xfrm>
                        <a:prstGeom prst="rect">
                          <a:avLst/>
                        </a:prstGeom>
                        <a:ln w="3175">
                          <a:noFill/>
                        </a:ln>
                      </p166:spPr>
                    </psez:zmPr>
                  </psez:sectionZmObj>
                </psez:sectionZm>
              </a:graphicData>
            </a:graphic>
          </p:graphicFrame>
        </mc:Choice>
        <mc:Fallback xmlns="">
          <p:pic>
            <p:nvPicPr>
              <p:cNvPr id="13" name="Section Zoom 12">
                <a:hlinkClick r:id="rId36" action="ppaction://hlinksldjump"/>
                <a:extLst>
                  <a:ext uri="{FF2B5EF4-FFF2-40B4-BE49-F238E27FC236}">
                    <a16:creationId xmlns:a16="http://schemas.microsoft.com/office/drawing/2014/main" id="{8C693734-C934-C86F-DBF3-51A83A14962D}"/>
                  </a:ext>
                </a:extLst>
              </p:cNvPr>
              <p:cNvPicPr>
                <a:picLocks noGrp="1" noRot="1" noChangeAspect="1" noMove="1" noResize="1" noEditPoints="1" noAdjustHandles="1" noChangeArrowheads="1" noChangeShapeType="1"/>
              </p:cNvPicPr>
              <p:nvPr/>
            </p:nvPicPr>
            <p:blipFill>
              <a:blip r:embed="rId37"/>
              <a:stretch>
                <a:fillRect/>
              </a:stretch>
            </p:blipFill>
            <p:spPr>
              <a:xfrm>
                <a:off x="4514062" y="3736302"/>
                <a:ext cx="1205892" cy="678314"/>
              </a:xfrm>
              <a:prstGeom prst="rect">
                <a:avLst/>
              </a:prstGeom>
              <a:ln w="3175">
                <a:noFill/>
              </a:ln>
            </p:spPr>
          </p:pic>
        </mc:Fallback>
      </mc:AlternateContent>
      <mc:AlternateContent xmlns:mc="http://schemas.openxmlformats.org/markup-compatibility/2006" xmlns:psez="http://schemas.microsoft.com/office/powerpoint/2016/sectionzoom">
        <mc:Choice Requires="psez">
          <p:graphicFrame>
            <p:nvGraphicFramePr>
              <p:cNvPr id="16" name="Section Zoom 15">
                <a:extLst>
                  <a:ext uri="{FF2B5EF4-FFF2-40B4-BE49-F238E27FC236}">
                    <a16:creationId xmlns:a16="http://schemas.microsoft.com/office/drawing/2014/main" id="{366A5243-9F37-B263-172D-5FF4FD239A02}"/>
                  </a:ext>
                </a:extLst>
              </p:cNvPr>
              <p:cNvGraphicFramePr>
                <a:graphicFrameLocks noChangeAspect="1"/>
              </p:cNvGraphicFramePr>
              <p:nvPr>
                <p:extLst>
                  <p:ext uri="{D42A27DB-BD31-4B8C-83A1-F6EECF244321}">
                    <p14:modId xmlns:p14="http://schemas.microsoft.com/office/powerpoint/2010/main" val="3643834020"/>
                  </p:ext>
                </p:extLst>
              </p:nvPr>
            </p:nvGraphicFramePr>
            <p:xfrm>
              <a:off x="5493054" y="2440294"/>
              <a:ext cx="1205892" cy="678314"/>
            </p:xfrm>
            <a:graphic>
              <a:graphicData uri="http://schemas.microsoft.com/office/powerpoint/2016/sectionzoom">
                <psez:sectionZm>
                  <psez:sectionZmObj sectionId="{8EDEC664-D3C4-4592-8786-C99AA6E5D5F4}">
                    <psez:zmPr id="{1174C820-6585-4812-BAF9-B20F5FE26C7E}" transitionDur="1000" showBg="0">
                      <p166:blipFill xmlns:p166="http://schemas.microsoft.com/office/powerpoint/2016/6/main">
                        <a:blip r:embed="rId38"/>
                        <a:stretch>
                          <a:fillRect/>
                        </a:stretch>
                      </p166:blipFill>
                      <p166:spPr xmlns:p166="http://schemas.microsoft.com/office/powerpoint/2016/6/main">
                        <a:xfrm>
                          <a:off x="0" y="0"/>
                          <a:ext cx="1205892" cy="678314"/>
                        </a:xfrm>
                        <a:prstGeom prst="rect">
                          <a:avLst/>
                        </a:prstGeom>
                        <a:ln w="3175">
                          <a:noFill/>
                        </a:ln>
                      </p166:spPr>
                    </psez:zmPr>
                  </psez:sectionZmObj>
                </psez:sectionZm>
              </a:graphicData>
            </a:graphic>
          </p:graphicFrame>
        </mc:Choice>
        <mc:Fallback xmlns="">
          <p:pic>
            <p:nvPicPr>
              <p:cNvPr id="16" name="Section Zoom 15">
                <a:hlinkClick r:id="rId39" action="ppaction://hlinksldjump"/>
                <a:extLst>
                  <a:ext uri="{FF2B5EF4-FFF2-40B4-BE49-F238E27FC236}">
                    <a16:creationId xmlns:a16="http://schemas.microsoft.com/office/drawing/2014/main" id="{366A5243-9F37-B263-172D-5FF4FD239A02}"/>
                  </a:ext>
                </a:extLst>
              </p:cNvPr>
              <p:cNvPicPr>
                <a:picLocks noGrp="1" noRot="1" noChangeAspect="1" noMove="1" noResize="1" noEditPoints="1" noAdjustHandles="1" noChangeArrowheads="1" noChangeShapeType="1"/>
              </p:cNvPicPr>
              <p:nvPr/>
            </p:nvPicPr>
            <p:blipFill>
              <a:blip r:embed="rId40"/>
              <a:stretch>
                <a:fillRect/>
              </a:stretch>
            </p:blipFill>
            <p:spPr>
              <a:xfrm>
                <a:off x="5493054" y="2440294"/>
                <a:ext cx="1205892" cy="678314"/>
              </a:xfrm>
              <a:prstGeom prst="rect">
                <a:avLst/>
              </a:prstGeom>
              <a:ln w="3175">
                <a:noFill/>
              </a:ln>
            </p:spPr>
          </p:pic>
        </mc:Fallback>
      </mc:AlternateContent>
      <mc:AlternateContent xmlns:mc="http://schemas.openxmlformats.org/markup-compatibility/2006" xmlns:psez="http://schemas.microsoft.com/office/powerpoint/2016/sectionzoom">
        <mc:Choice Requires="psez">
          <p:graphicFrame>
            <p:nvGraphicFramePr>
              <p:cNvPr id="3" name="Section Zoom 2">
                <a:extLst>
                  <a:ext uri="{FF2B5EF4-FFF2-40B4-BE49-F238E27FC236}">
                    <a16:creationId xmlns:a16="http://schemas.microsoft.com/office/drawing/2014/main" id="{B1818394-B566-89EC-93B7-0C7F52D96C8E}"/>
                  </a:ext>
                </a:extLst>
              </p:cNvPr>
              <p:cNvGraphicFramePr>
                <a:graphicFrameLocks noChangeAspect="1"/>
              </p:cNvGraphicFramePr>
              <p:nvPr>
                <p:extLst>
                  <p:ext uri="{D42A27DB-BD31-4B8C-83A1-F6EECF244321}">
                    <p14:modId xmlns:p14="http://schemas.microsoft.com/office/powerpoint/2010/main" val="931416635"/>
                  </p:ext>
                </p:extLst>
              </p:nvPr>
            </p:nvGraphicFramePr>
            <p:xfrm>
              <a:off x="6475316" y="3736302"/>
              <a:ext cx="1205892" cy="678314"/>
            </p:xfrm>
            <a:graphic>
              <a:graphicData uri="http://schemas.microsoft.com/office/powerpoint/2016/sectionzoom">
                <psez:sectionZm>
                  <psez:sectionZmObj sectionId="{F496BB06-4A29-4BF5-BA77-B16347F04B8B}">
                    <psez:zmPr id="{CA16EA92-A482-4473-9D2E-4B82CD37A180}" transitionDur="1000" showBg="0">
                      <p166:blipFill xmlns:p166="http://schemas.microsoft.com/office/powerpoint/2016/6/main">
                        <a:blip r:embed="rId41"/>
                        <a:stretch>
                          <a:fillRect/>
                        </a:stretch>
                      </p166:blipFill>
                      <p166:spPr xmlns:p166="http://schemas.microsoft.com/office/powerpoint/2016/6/main">
                        <a:xfrm>
                          <a:off x="0" y="0"/>
                          <a:ext cx="1205892" cy="678314"/>
                        </a:xfrm>
                        <a:prstGeom prst="rect">
                          <a:avLst/>
                        </a:prstGeom>
                      </p166:spPr>
                    </psez:zmPr>
                  </psez:sectionZmObj>
                </psez:sectionZm>
              </a:graphicData>
            </a:graphic>
          </p:graphicFrame>
        </mc:Choice>
        <mc:Fallback xmlns="">
          <p:pic>
            <p:nvPicPr>
              <p:cNvPr id="3" name="Section Zoom 2">
                <a:hlinkClick r:id="rId42" action="ppaction://hlinksldjump"/>
                <a:extLst>
                  <a:ext uri="{FF2B5EF4-FFF2-40B4-BE49-F238E27FC236}">
                    <a16:creationId xmlns:a16="http://schemas.microsoft.com/office/drawing/2014/main" id="{B1818394-B566-89EC-93B7-0C7F52D96C8E}"/>
                  </a:ext>
                </a:extLst>
              </p:cNvPr>
              <p:cNvPicPr>
                <a:picLocks noGrp="1" noRot="1" noChangeAspect="1" noMove="1" noResize="1" noEditPoints="1" noAdjustHandles="1" noChangeArrowheads="1" noChangeShapeType="1"/>
              </p:cNvPicPr>
              <p:nvPr/>
            </p:nvPicPr>
            <p:blipFill>
              <a:blip r:embed="rId43"/>
              <a:stretch>
                <a:fillRect/>
              </a:stretch>
            </p:blipFill>
            <p:spPr>
              <a:xfrm>
                <a:off x="6475316" y="3736302"/>
                <a:ext cx="1205892" cy="678314"/>
              </a:xfrm>
              <a:prstGeom prst="rect">
                <a:avLst/>
              </a:prstGeom>
            </p:spPr>
          </p:pic>
        </mc:Fallback>
      </mc:AlternateContent>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A64A8C2C-A09D-914F-4D82-0AC210E81EC2}"/>
                  </a:ext>
                </a:extLst>
              </p:cNvPr>
              <p:cNvGraphicFramePr>
                <a:graphicFrameLocks noChangeAspect="1"/>
              </p:cNvGraphicFramePr>
              <p:nvPr>
                <p:extLst>
                  <p:ext uri="{D42A27DB-BD31-4B8C-83A1-F6EECF244321}">
                    <p14:modId xmlns:p14="http://schemas.microsoft.com/office/powerpoint/2010/main" val="2526438885"/>
                  </p:ext>
                </p:extLst>
              </p:nvPr>
            </p:nvGraphicFramePr>
            <p:xfrm>
              <a:off x="7451037" y="2440294"/>
              <a:ext cx="1205892" cy="678314"/>
            </p:xfrm>
            <a:graphic>
              <a:graphicData uri="http://schemas.microsoft.com/office/powerpoint/2016/sectionzoom">
                <psez:sectionZm>
                  <psez:sectionZmObj sectionId="{5F9BCD4A-9433-48A8-B291-287BE2581A63}">
                    <psez:zmPr id="{18EA1257-2A04-4F60-AC28-AE506CECCC30}" transitionDur="1000" showBg="0">
                      <p166:blipFill xmlns:p166="http://schemas.microsoft.com/office/powerpoint/2016/6/main">
                        <a:blip r:embed="rId44"/>
                        <a:stretch>
                          <a:fillRect/>
                        </a:stretch>
                      </p166:blipFill>
                      <p166:spPr xmlns:p166="http://schemas.microsoft.com/office/powerpoint/2016/6/main">
                        <a:xfrm>
                          <a:off x="0" y="0"/>
                          <a:ext cx="1205892" cy="678314"/>
                        </a:xfrm>
                        <a:prstGeom prst="rect">
                          <a:avLst/>
                        </a:prstGeom>
                        <a:ln>
                          <a:noFill/>
                        </a:ln>
                      </p166:spPr>
                    </psez:zmPr>
                  </psez:sectionZmObj>
                </psez:sectionZm>
              </a:graphicData>
            </a:graphic>
          </p:graphicFrame>
        </mc:Choice>
        <mc:Fallback xmlns="">
          <p:pic>
            <p:nvPicPr>
              <p:cNvPr id="8" name="Section Zoom 7">
                <a:hlinkClick r:id="rId45" action="ppaction://hlinksldjump"/>
                <a:extLst>
                  <a:ext uri="{FF2B5EF4-FFF2-40B4-BE49-F238E27FC236}">
                    <a16:creationId xmlns:a16="http://schemas.microsoft.com/office/drawing/2014/main" id="{A64A8C2C-A09D-914F-4D82-0AC210E81EC2}"/>
                  </a:ext>
                </a:extLst>
              </p:cNvPr>
              <p:cNvPicPr>
                <a:picLocks noGrp="1" noRot="1" noChangeAspect="1" noMove="1" noResize="1" noEditPoints="1" noAdjustHandles="1" noChangeArrowheads="1" noChangeShapeType="1"/>
              </p:cNvPicPr>
              <p:nvPr/>
            </p:nvPicPr>
            <p:blipFill>
              <a:blip r:embed="rId46"/>
              <a:stretch>
                <a:fillRect/>
              </a:stretch>
            </p:blipFill>
            <p:spPr>
              <a:xfrm>
                <a:off x="7451037" y="2440294"/>
                <a:ext cx="1205892" cy="678314"/>
              </a:xfrm>
              <a:prstGeom prst="rect">
                <a:avLst/>
              </a:prstGeom>
              <a:ln>
                <a:noFill/>
              </a:ln>
            </p:spPr>
          </p:pic>
        </mc:Fallback>
      </mc:AlternateContent>
      <mc:AlternateContent xmlns:mc="http://schemas.openxmlformats.org/markup-compatibility/2006" xmlns:psez="http://schemas.microsoft.com/office/powerpoint/2016/sectionzoom">
        <mc:Choice Requires="psez">
          <p:graphicFrame>
            <p:nvGraphicFramePr>
              <p:cNvPr id="15" name="Section Zoom 14">
                <a:extLst>
                  <a:ext uri="{FF2B5EF4-FFF2-40B4-BE49-F238E27FC236}">
                    <a16:creationId xmlns:a16="http://schemas.microsoft.com/office/drawing/2014/main" id="{994A7A82-00DA-C962-F4B3-D28B371A268F}"/>
                  </a:ext>
                </a:extLst>
              </p:cNvPr>
              <p:cNvGraphicFramePr>
                <a:graphicFrameLocks noChangeAspect="1"/>
              </p:cNvGraphicFramePr>
              <p:nvPr>
                <p:extLst>
                  <p:ext uri="{D42A27DB-BD31-4B8C-83A1-F6EECF244321}">
                    <p14:modId xmlns:p14="http://schemas.microsoft.com/office/powerpoint/2010/main" val="839852492"/>
                  </p:ext>
                </p:extLst>
              </p:nvPr>
            </p:nvGraphicFramePr>
            <p:xfrm>
              <a:off x="8430029" y="3736302"/>
              <a:ext cx="1205892" cy="678314"/>
            </p:xfrm>
            <a:graphic>
              <a:graphicData uri="http://schemas.microsoft.com/office/powerpoint/2016/sectionzoom">
                <psez:sectionZm>
                  <psez:sectionZmObj sectionId="{DAF8DABC-592A-4901-A0AC-5CDA09D8F45E}">
                    <psez:zmPr id="{B0CC5743-31DA-4C38-8F9F-D13430DC46E4}" transitionDur="1000" showBg="0">
                      <p166:blipFill xmlns:p166="http://schemas.microsoft.com/office/powerpoint/2016/6/main">
                        <a:blip r:embed="rId47"/>
                        <a:stretch>
                          <a:fillRect/>
                        </a:stretch>
                      </p166:blipFill>
                      <p166:spPr xmlns:p166="http://schemas.microsoft.com/office/powerpoint/2016/6/main">
                        <a:xfrm>
                          <a:off x="0" y="0"/>
                          <a:ext cx="1205892" cy="678314"/>
                        </a:xfrm>
                        <a:prstGeom prst="rect">
                          <a:avLst/>
                        </a:prstGeom>
                        <a:ln w="3175">
                          <a:noFill/>
                        </a:ln>
                      </p166:spPr>
                    </psez:zmPr>
                  </psez:sectionZmObj>
                </psez:sectionZm>
              </a:graphicData>
            </a:graphic>
          </p:graphicFrame>
        </mc:Choice>
        <mc:Fallback xmlns="">
          <p:pic>
            <p:nvPicPr>
              <p:cNvPr id="15" name="Section Zoom 14">
                <a:hlinkClick r:id="rId48" action="ppaction://hlinksldjump"/>
                <a:extLst>
                  <a:ext uri="{FF2B5EF4-FFF2-40B4-BE49-F238E27FC236}">
                    <a16:creationId xmlns:a16="http://schemas.microsoft.com/office/drawing/2014/main" id="{994A7A82-00DA-C962-F4B3-D28B371A268F}"/>
                  </a:ext>
                </a:extLst>
              </p:cNvPr>
              <p:cNvPicPr>
                <a:picLocks noGrp="1" noRot="1" noChangeAspect="1" noMove="1" noResize="1" noEditPoints="1" noAdjustHandles="1" noChangeArrowheads="1" noChangeShapeType="1"/>
              </p:cNvPicPr>
              <p:nvPr/>
            </p:nvPicPr>
            <p:blipFill>
              <a:blip r:embed="rId49"/>
              <a:stretch>
                <a:fillRect/>
              </a:stretch>
            </p:blipFill>
            <p:spPr>
              <a:xfrm>
                <a:off x="8430029" y="3736302"/>
                <a:ext cx="1205892" cy="678314"/>
              </a:xfrm>
              <a:prstGeom prst="rect">
                <a:avLst/>
              </a:prstGeom>
              <a:ln w="3175">
                <a:noFill/>
              </a:ln>
            </p:spPr>
          </p:pic>
        </mc:Fallback>
      </mc:AlternateContent>
      <mc:AlternateContent xmlns:mc="http://schemas.openxmlformats.org/markup-compatibility/2006" xmlns:psez="http://schemas.microsoft.com/office/powerpoint/2016/sectionzoom">
        <mc:Choice Requires="psez">
          <p:graphicFrame>
            <p:nvGraphicFramePr>
              <p:cNvPr id="18" name="Section Zoom 17">
                <a:extLst>
                  <a:ext uri="{FF2B5EF4-FFF2-40B4-BE49-F238E27FC236}">
                    <a16:creationId xmlns:a16="http://schemas.microsoft.com/office/drawing/2014/main" id="{3E37003B-E503-7160-A212-66213D34C012}"/>
                  </a:ext>
                </a:extLst>
              </p:cNvPr>
              <p:cNvGraphicFramePr>
                <a:graphicFrameLocks noChangeAspect="1"/>
              </p:cNvGraphicFramePr>
              <p:nvPr>
                <p:extLst>
                  <p:ext uri="{D42A27DB-BD31-4B8C-83A1-F6EECF244321}">
                    <p14:modId xmlns:p14="http://schemas.microsoft.com/office/powerpoint/2010/main" val="1149406108"/>
                  </p:ext>
                </p:extLst>
              </p:nvPr>
            </p:nvGraphicFramePr>
            <p:xfrm>
              <a:off x="9409020" y="2440294"/>
              <a:ext cx="1205892" cy="678314"/>
            </p:xfrm>
            <a:graphic>
              <a:graphicData uri="http://schemas.microsoft.com/office/powerpoint/2016/sectionzoom">
                <psez:sectionZm>
                  <psez:sectionZmObj sectionId="{98810976-D7DB-4275-9710-9A2889E2A734}">
                    <psez:zmPr id="{F08AC0D9-533E-4A9B-AE6D-5C782F66EA32}" transitionDur="1000" showBg="0">
                      <p166:blipFill xmlns:p166="http://schemas.microsoft.com/office/powerpoint/2016/6/main">
                        <a:blip r:embed="rId50"/>
                        <a:stretch>
                          <a:fillRect/>
                        </a:stretch>
                      </p166:blipFill>
                      <p166:spPr xmlns:p166="http://schemas.microsoft.com/office/powerpoint/2016/6/main">
                        <a:xfrm>
                          <a:off x="0" y="0"/>
                          <a:ext cx="1205892" cy="678314"/>
                        </a:xfrm>
                        <a:prstGeom prst="rect">
                          <a:avLst/>
                        </a:prstGeom>
                        <a:ln>
                          <a:noFill/>
                        </a:ln>
                      </p166:spPr>
                    </psez:zmPr>
                  </psez:sectionZmObj>
                </psez:sectionZm>
              </a:graphicData>
            </a:graphic>
          </p:graphicFrame>
        </mc:Choice>
        <mc:Fallback xmlns="">
          <p:pic>
            <p:nvPicPr>
              <p:cNvPr id="18" name="Section Zoom 17">
                <a:hlinkClick r:id="rId51" action="ppaction://hlinksldjump"/>
                <a:extLst>
                  <a:ext uri="{FF2B5EF4-FFF2-40B4-BE49-F238E27FC236}">
                    <a16:creationId xmlns:a16="http://schemas.microsoft.com/office/drawing/2014/main" id="{3E37003B-E503-7160-A212-66213D34C012}"/>
                  </a:ext>
                </a:extLst>
              </p:cNvPr>
              <p:cNvPicPr>
                <a:picLocks noGrp="1" noRot="1" noChangeAspect="1" noMove="1" noResize="1" noEditPoints="1" noAdjustHandles="1" noChangeArrowheads="1" noChangeShapeType="1"/>
              </p:cNvPicPr>
              <p:nvPr/>
            </p:nvPicPr>
            <p:blipFill>
              <a:blip r:embed="rId52"/>
              <a:stretch>
                <a:fillRect/>
              </a:stretch>
            </p:blipFill>
            <p:spPr>
              <a:xfrm>
                <a:off x="9409020" y="2440294"/>
                <a:ext cx="1205892" cy="678314"/>
              </a:xfrm>
              <a:prstGeom prst="rect">
                <a:avLst/>
              </a:prstGeom>
              <a:ln>
                <a:noFill/>
              </a:ln>
            </p:spPr>
          </p:pic>
        </mc:Fallback>
      </mc:AlternateContent>
      <p:sp useBgFill="1">
        <p:nvSpPr>
          <p:cNvPr id="2" name="Rectangle: Rounded Corners 1">
            <a:extLst>
              <a:ext uri="{FF2B5EF4-FFF2-40B4-BE49-F238E27FC236}">
                <a16:creationId xmlns:a16="http://schemas.microsoft.com/office/drawing/2014/main" id="{36C4B878-37C6-7B4E-B091-2E034E3D2D72}"/>
              </a:ext>
            </a:extLst>
          </p:cNvPr>
          <p:cNvSpPr/>
          <p:nvPr/>
        </p:nvSpPr>
        <p:spPr>
          <a:xfrm>
            <a:off x="10703959" y="257132"/>
            <a:ext cx="1216579" cy="403894"/>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spc="30" dirty="0">
                <a:solidFill>
                  <a:prstClr val="white"/>
                </a:solidFill>
                <a:latin typeface="Darker Grotesque" pitchFamily="2" charset="0"/>
              </a:rPr>
              <a:t>12 Juin 2025</a:t>
            </a:r>
            <a:endParaRPr lang="en-GB" sz="1200" spc="30" dirty="0">
              <a:solidFill>
                <a:prstClr val="white"/>
              </a:solidFill>
              <a:latin typeface="Darker Grotesque" pitchFamily="2" charset="0"/>
            </a:endParaRPr>
          </a:p>
        </p:txBody>
      </p:sp>
      <p:sp useBgFill="1">
        <p:nvSpPr>
          <p:cNvPr id="57" name="Rectangle: Rounded Corners 56">
            <a:extLst>
              <a:ext uri="{FF2B5EF4-FFF2-40B4-BE49-F238E27FC236}">
                <a16:creationId xmlns:a16="http://schemas.microsoft.com/office/drawing/2014/main" id="{2DEC4338-F533-49CE-9937-6FBB6F7527E8}"/>
              </a:ext>
            </a:extLst>
          </p:cNvPr>
          <p:cNvSpPr/>
          <p:nvPr/>
        </p:nvSpPr>
        <p:spPr>
          <a:xfrm>
            <a:off x="4502091" y="6067905"/>
            <a:ext cx="3415453" cy="584302"/>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dirty="0">
                <a:solidFill>
                  <a:prstClr val="white"/>
                </a:solidFill>
                <a:latin typeface="Darker Grotesque" pitchFamily="2" charset="0"/>
              </a:rPr>
              <a:t>Réalisé par: Khaled </a:t>
            </a:r>
            <a:r>
              <a:rPr lang="fr-FR" sz="1200" dirty="0" err="1">
                <a:solidFill>
                  <a:prstClr val="white"/>
                </a:solidFill>
                <a:latin typeface="Darker Grotesque" pitchFamily="2" charset="0"/>
              </a:rPr>
              <a:t>Abdellatif,Adem</a:t>
            </a:r>
            <a:r>
              <a:rPr lang="fr-FR" sz="1200" dirty="0">
                <a:solidFill>
                  <a:prstClr val="white"/>
                </a:solidFill>
                <a:latin typeface="Darker Grotesque" pitchFamily="2" charset="0"/>
              </a:rPr>
              <a:t> </a:t>
            </a:r>
            <a:r>
              <a:rPr lang="fr-FR" sz="1200" dirty="0" err="1">
                <a:solidFill>
                  <a:prstClr val="white"/>
                </a:solidFill>
                <a:latin typeface="Darker Grotesque" pitchFamily="2" charset="0"/>
              </a:rPr>
              <a:t>Hamroun</a:t>
            </a:r>
            <a:endParaRPr lang="en-GB" sz="1200" spc="30" dirty="0">
              <a:solidFill>
                <a:prstClr val="white"/>
              </a:solidFill>
              <a:latin typeface="Darker Grotesque" pitchFamily="2" charset="0"/>
            </a:endParaRPr>
          </a:p>
        </p:txBody>
      </p:sp>
      <p:pic>
        <p:nvPicPr>
          <p:cNvPr id="6" name="Graphic 102">
            <a:extLst>
              <a:ext uri="{FF2B5EF4-FFF2-40B4-BE49-F238E27FC236}">
                <a16:creationId xmlns:a16="http://schemas.microsoft.com/office/drawing/2014/main" id="{A0F6496A-069E-BD4A-027D-01968AD3FC85}"/>
              </a:ext>
            </a:extLst>
          </p:cNvPr>
          <p:cNvPicPr>
            <a:picLocks noChangeAspect="1"/>
          </p:cNvPicPr>
          <p:nvPr/>
        </p:nvPicPr>
        <p:blipFill>
          <a:blip r:embed="rId53">
            <a:extLst>
              <a:ext uri="{96DAC541-7B7A-43D3-8B79-37D633B846F1}">
                <asvg:svgBlip xmlns:asvg="http://schemas.microsoft.com/office/drawing/2016/SVG/main" r:embed="rId54"/>
              </a:ext>
            </a:extLst>
          </a:blip>
          <a:srcRect/>
          <a:stretch/>
        </p:blipFill>
        <p:spPr>
          <a:xfrm>
            <a:off x="2064721" y="1989432"/>
            <a:ext cx="252000" cy="252000"/>
          </a:xfrm>
          <a:prstGeom prst="rect">
            <a:avLst/>
          </a:prstGeom>
        </p:spPr>
      </p:pic>
    </p:spTree>
    <p:extLst>
      <p:ext uri="{BB962C8B-B14F-4D97-AF65-F5344CB8AC3E}">
        <p14:creationId xmlns:p14="http://schemas.microsoft.com/office/powerpoint/2010/main" val="107578768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34">
            <a:extLst>
              <a:ext uri="{FF2B5EF4-FFF2-40B4-BE49-F238E27FC236}">
                <a16:creationId xmlns:a16="http://schemas.microsoft.com/office/drawing/2014/main" id="{0E3C28F7-7930-060B-F69B-E85CB7993FC8}"/>
              </a:ext>
            </a:extLst>
          </p:cNvPr>
          <p:cNvSpPr txBox="1"/>
          <p:nvPr/>
        </p:nvSpPr>
        <p:spPr>
          <a:xfrm>
            <a:off x="1244818" y="1319185"/>
            <a:ext cx="9867006" cy="183370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3800" b="0" i="0" u="none" strike="noStrike" kern="0" cap="none" spc="0" normalizeH="0" baseline="0" noProof="0" dirty="0">
                <a:ln>
                  <a:noFill/>
                </a:ln>
                <a:solidFill>
                  <a:prstClr val="white"/>
                </a:solidFill>
                <a:effectLst/>
                <a:uLnTx/>
                <a:uFillTx/>
                <a:latin typeface="Darker Grotesque" pitchFamily="2" charset="0"/>
              </a:rPr>
              <a:t>Etude </a:t>
            </a:r>
          </a:p>
        </p:txBody>
      </p:sp>
      <p:sp>
        <p:nvSpPr>
          <p:cNvPr id="3" name="TextBox 35">
            <a:extLst>
              <a:ext uri="{FF2B5EF4-FFF2-40B4-BE49-F238E27FC236}">
                <a16:creationId xmlns:a16="http://schemas.microsoft.com/office/drawing/2014/main" id="{722A7D9E-F964-457C-196C-9BE5A5D201E8}"/>
              </a:ext>
            </a:extLst>
          </p:cNvPr>
          <p:cNvSpPr txBox="1"/>
          <p:nvPr/>
        </p:nvSpPr>
        <p:spPr>
          <a:xfrm>
            <a:off x="1080320" y="3435417"/>
            <a:ext cx="9984107" cy="1833707"/>
          </a:xfrm>
          <a:prstGeom prst="rect">
            <a:avLst/>
          </a:prstGeom>
          <a:noFill/>
        </p:spPr>
        <p:txBody>
          <a:bodyPr wrap="square" rtlCol="0">
            <a:spAutoFit/>
          </a:bodyPr>
          <a:lstStyle/>
          <a:p>
            <a:pPr lvl="0" algn="ctr">
              <a:lnSpc>
                <a:spcPct val="80000"/>
              </a:lnSpc>
              <a:defRPr/>
            </a:pPr>
            <a:r>
              <a:rPr lang="fr-FR" sz="13800" kern="0" dirty="0">
                <a:solidFill>
                  <a:prstClr val="white"/>
                </a:solidFill>
                <a:latin typeface="Darker Grotesque" pitchFamily="2" charset="0"/>
              </a:rPr>
              <a:t>Commerciale</a:t>
            </a:r>
            <a:endParaRPr lang="en-US" sz="13800" kern="0" dirty="0">
              <a:solidFill>
                <a:prstClr val="white"/>
              </a:solidFill>
              <a:latin typeface="Darker Grotesque" pitchFamily="2" charset="0"/>
            </a:endParaRPr>
          </a:p>
        </p:txBody>
      </p:sp>
    </p:spTree>
    <p:extLst>
      <p:ext uri="{BB962C8B-B14F-4D97-AF65-F5344CB8AC3E}">
        <p14:creationId xmlns:p14="http://schemas.microsoft.com/office/powerpoint/2010/main" val="3208925673"/>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34">
            <a:extLst>
              <a:ext uri="{FF2B5EF4-FFF2-40B4-BE49-F238E27FC236}">
                <a16:creationId xmlns:a16="http://schemas.microsoft.com/office/drawing/2014/main" id="{0E3C28F7-7930-060B-F69B-E85CB7993FC8}"/>
              </a:ext>
            </a:extLst>
          </p:cNvPr>
          <p:cNvSpPr txBox="1"/>
          <p:nvPr/>
        </p:nvSpPr>
        <p:spPr>
          <a:xfrm>
            <a:off x="1244818" y="1319185"/>
            <a:ext cx="9867006" cy="183370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3800" b="0" i="0" u="none" strike="noStrike" kern="0" cap="none" spc="0" normalizeH="0" baseline="0" noProof="0" dirty="0">
                <a:ln>
                  <a:noFill/>
                </a:ln>
                <a:solidFill>
                  <a:prstClr val="white"/>
                </a:solidFill>
                <a:effectLst/>
                <a:uLnTx/>
                <a:uFillTx/>
                <a:latin typeface="Darker Grotesque" pitchFamily="2" charset="0"/>
              </a:rPr>
              <a:t>Etude </a:t>
            </a:r>
          </a:p>
        </p:txBody>
      </p:sp>
      <p:sp>
        <p:nvSpPr>
          <p:cNvPr id="3" name="TextBox 35">
            <a:extLst>
              <a:ext uri="{FF2B5EF4-FFF2-40B4-BE49-F238E27FC236}">
                <a16:creationId xmlns:a16="http://schemas.microsoft.com/office/drawing/2014/main" id="{722A7D9E-F964-457C-196C-9BE5A5D201E8}"/>
              </a:ext>
            </a:extLst>
          </p:cNvPr>
          <p:cNvSpPr txBox="1"/>
          <p:nvPr/>
        </p:nvSpPr>
        <p:spPr>
          <a:xfrm>
            <a:off x="1080320" y="3435417"/>
            <a:ext cx="9984107" cy="1833707"/>
          </a:xfrm>
          <a:prstGeom prst="rect">
            <a:avLst/>
          </a:prstGeom>
          <a:noFill/>
        </p:spPr>
        <p:txBody>
          <a:bodyPr wrap="square" rtlCol="0">
            <a:spAutoFit/>
          </a:bodyPr>
          <a:lstStyle/>
          <a:p>
            <a:pPr lvl="0" algn="ctr">
              <a:lnSpc>
                <a:spcPct val="80000"/>
              </a:lnSpc>
              <a:defRPr/>
            </a:pPr>
            <a:r>
              <a:rPr lang="fr-FR" sz="13800" kern="0" dirty="0">
                <a:solidFill>
                  <a:prstClr val="white"/>
                </a:solidFill>
                <a:latin typeface="Darker Grotesque" pitchFamily="2" charset="0"/>
              </a:rPr>
              <a:t>commerciale</a:t>
            </a:r>
            <a:endParaRPr lang="en-US" sz="13800" kern="0" dirty="0">
              <a:solidFill>
                <a:prstClr val="white"/>
              </a:solidFill>
              <a:latin typeface="Darker Grotesque" pitchFamily="2" charset="0"/>
            </a:endParaRPr>
          </a:p>
        </p:txBody>
      </p:sp>
    </p:spTree>
    <p:extLst>
      <p:ext uri="{BB962C8B-B14F-4D97-AF65-F5344CB8AC3E}">
        <p14:creationId xmlns:p14="http://schemas.microsoft.com/office/powerpoint/2010/main" val="2319019701"/>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ED22468-DC17-89A8-6DC0-C4D760E9764F}"/>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cxnSp>
        <p:nvCxnSpPr>
          <p:cNvPr id="10" name="Straight Connector 9">
            <a:extLst>
              <a:ext uri="{FF2B5EF4-FFF2-40B4-BE49-F238E27FC236}">
                <a16:creationId xmlns:a16="http://schemas.microsoft.com/office/drawing/2014/main" id="{F6C10F56-A273-C32F-0F55-F8DAD118B94A}"/>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5" name="!!model">
            <a:extLst>
              <a:ext uri="{FF2B5EF4-FFF2-40B4-BE49-F238E27FC236}">
                <a16:creationId xmlns:a16="http://schemas.microsoft.com/office/drawing/2014/main" id="{F51B1873-4223-1D99-F908-62B7BB4F14F7}"/>
              </a:ext>
            </a:extLst>
          </p:cNvPr>
          <p:cNvGrpSpPr/>
          <p:nvPr/>
        </p:nvGrpSpPr>
        <p:grpSpPr>
          <a:xfrm>
            <a:off x="5842207" y="369986"/>
            <a:ext cx="507586" cy="507586"/>
            <a:chOff x="5832785" y="1868829"/>
            <a:chExt cx="507586" cy="507586"/>
          </a:xfrm>
        </p:grpSpPr>
        <p:sp>
          <p:nvSpPr>
            <p:cNvPr id="26" name="Oval 25">
              <a:extLst>
                <a:ext uri="{FF2B5EF4-FFF2-40B4-BE49-F238E27FC236}">
                  <a16:creationId xmlns:a16="http://schemas.microsoft.com/office/drawing/2014/main" id="{DDCEEB63-FD54-930B-5BB2-ED1F246A5617}"/>
                </a:ext>
              </a:extLst>
            </p:cNvPr>
            <p:cNvSpPr/>
            <p:nvPr/>
          </p:nvSpPr>
          <p:spPr>
            <a:xfrm>
              <a:off x="5832785" y="1868829"/>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7" name="Graphic 26">
              <a:extLst>
                <a:ext uri="{FF2B5EF4-FFF2-40B4-BE49-F238E27FC236}">
                  <a16:creationId xmlns:a16="http://schemas.microsoft.com/office/drawing/2014/main" id="{D6D85D96-DFC0-A226-E885-3CBE48B720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60578" y="1996622"/>
              <a:ext cx="252000" cy="252000"/>
            </a:xfrm>
            <a:prstGeom prst="rect">
              <a:avLst/>
            </a:prstGeom>
          </p:spPr>
        </p:pic>
      </p:grpSp>
      <p:sp>
        <p:nvSpPr>
          <p:cNvPr id="21" name="TextBox 20">
            <a:extLst>
              <a:ext uri="{FF2B5EF4-FFF2-40B4-BE49-F238E27FC236}">
                <a16:creationId xmlns:a16="http://schemas.microsoft.com/office/drawing/2014/main" id="{5CCA2FCA-1C43-96D5-E750-A7B4C2951CB7}"/>
              </a:ext>
            </a:extLst>
          </p:cNvPr>
          <p:cNvSpPr txBox="1"/>
          <p:nvPr/>
        </p:nvSpPr>
        <p:spPr>
          <a:xfrm>
            <a:off x="1" y="3429000"/>
            <a:ext cx="12192000" cy="834652"/>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ctr"/>
            <a:r>
              <a:rPr lang="fr-FR" sz="7200" dirty="0"/>
              <a:t>Plan marketing stratégique</a:t>
            </a:r>
            <a:endParaRPr lang="en-GB" sz="7200" dirty="0"/>
          </a:p>
        </p:txBody>
      </p:sp>
      <p:sp>
        <p:nvSpPr>
          <p:cNvPr id="4" name="TextBox 1">
            <a:extLst>
              <a:ext uri="{FF2B5EF4-FFF2-40B4-BE49-F238E27FC236}">
                <a16:creationId xmlns:a16="http://schemas.microsoft.com/office/drawing/2014/main" id="{1856B05E-B108-D17A-1CDE-1C226607DC77}"/>
              </a:ext>
            </a:extLst>
          </p:cNvPr>
          <p:cNvSpPr txBox="1"/>
          <p:nvPr/>
        </p:nvSpPr>
        <p:spPr>
          <a:xfrm>
            <a:off x="908648" y="407551"/>
            <a:ext cx="1239122"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Commerciale</a:t>
            </a:r>
          </a:p>
        </p:txBody>
      </p:sp>
    </p:spTree>
    <p:extLst>
      <p:ext uri="{BB962C8B-B14F-4D97-AF65-F5344CB8AC3E}">
        <p14:creationId xmlns:p14="http://schemas.microsoft.com/office/powerpoint/2010/main" val="44741652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C7E46A-8021-5782-43FA-8DFE9F049C72}"/>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30229D77-4ECC-E47D-42D1-D6D4970C94EA}"/>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cxnSp>
        <p:nvCxnSpPr>
          <p:cNvPr id="10" name="Straight Connector 9">
            <a:extLst>
              <a:ext uri="{FF2B5EF4-FFF2-40B4-BE49-F238E27FC236}">
                <a16:creationId xmlns:a16="http://schemas.microsoft.com/office/drawing/2014/main" id="{5C2F4087-CB65-EF6F-BB54-35D1ADD48B85}"/>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5" name="!!model">
            <a:extLst>
              <a:ext uri="{FF2B5EF4-FFF2-40B4-BE49-F238E27FC236}">
                <a16:creationId xmlns:a16="http://schemas.microsoft.com/office/drawing/2014/main" id="{4B6B3B85-5BE0-6EFF-06A4-36832E5FDB76}"/>
              </a:ext>
            </a:extLst>
          </p:cNvPr>
          <p:cNvGrpSpPr/>
          <p:nvPr/>
        </p:nvGrpSpPr>
        <p:grpSpPr>
          <a:xfrm>
            <a:off x="5842207" y="369986"/>
            <a:ext cx="507586" cy="507586"/>
            <a:chOff x="5832785" y="1868829"/>
            <a:chExt cx="507586" cy="507586"/>
          </a:xfrm>
        </p:grpSpPr>
        <p:sp>
          <p:nvSpPr>
            <p:cNvPr id="26" name="Oval 25">
              <a:extLst>
                <a:ext uri="{FF2B5EF4-FFF2-40B4-BE49-F238E27FC236}">
                  <a16:creationId xmlns:a16="http://schemas.microsoft.com/office/drawing/2014/main" id="{80869AD8-D304-CE2F-73A8-1CAD07B18B2F}"/>
                </a:ext>
              </a:extLst>
            </p:cNvPr>
            <p:cNvSpPr/>
            <p:nvPr/>
          </p:nvSpPr>
          <p:spPr>
            <a:xfrm>
              <a:off x="5832785" y="1868829"/>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7" name="Graphic 26">
              <a:extLst>
                <a:ext uri="{FF2B5EF4-FFF2-40B4-BE49-F238E27FC236}">
                  <a16:creationId xmlns:a16="http://schemas.microsoft.com/office/drawing/2014/main" id="{DC48EE5E-D4C9-2046-9622-E2B22C8F679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60578" y="1996622"/>
              <a:ext cx="252000" cy="252000"/>
            </a:xfrm>
            <a:prstGeom prst="rect">
              <a:avLst/>
            </a:prstGeom>
          </p:spPr>
        </p:pic>
      </p:grpSp>
      <p:sp>
        <p:nvSpPr>
          <p:cNvPr id="21" name="TextBox 20">
            <a:extLst>
              <a:ext uri="{FF2B5EF4-FFF2-40B4-BE49-F238E27FC236}">
                <a16:creationId xmlns:a16="http://schemas.microsoft.com/office/drawing/2014/main" id="{6BF7921B-4BF6-5CEB-8E99-38BEB216C5DE}"/>
              </a:ext>
            </a:extLst>
          </p:cNvPr>
          <p:cNvSpPr txBox="1"/>
          <p:nvPr/>
        </p:nvSpPr>
        <p:spPr>
          <a:xfrm>
            <a:off x="234546" y="1056986"/>
            <a:ext cx="5328053" cy="587212"/>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800" dirty="0"/>
              <a:t>Segmentation</a:t>
            </a:r>
            <a:endParaRPr lang="en-GB" sz="4800" dirty="0"/>
          </a:p>
        </p:txBody>
      </p:sp>
      <p:sp>
        <p:nvSpPr>
          <p:cNvPr id="4" name="TextBox 1">
            <a:extLst>
              <a:ext uri="{FF2B5EF4-FFF2-40B4-BE49-F238E27FC236}">
                <a16:creationId xmlns:a16="http://schemas.microsoft.com/office/drawing/2014/main" id="{F7B4A4A8-4110-196E-E65B-3A6A6D55DBE3}"/>
              </a:ext>
            </a:extLst>
          </p:cNvPr>
          <p:cNvSpPr txBox="1"/>
          <p:nvPr/>
        </p:nvSpPr>
        <p:spPr>
          <a:xfrm>
            <a:off x="908648" y="407551"/>
            <a:ext cx="1239122"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Commerciale</a:t>
            </a:r>
          </a:p>
        </p:txBody>
      </p:sp>
      <p:grpSp>
        <p:nvGrpSpPr>
          <p:cNvPr id="20" name="Group 2">
            <a:extLst>
              <a:ext uri="{FF2B5EF4-FFF2-40B4-BE49-F238E27FC236}">
                <a16:creationId xmlns:a16="http://schemas.microsoft.com/office/drawing/2014/main" id="{435817A8-BA23-4A7D-FE96-64E4689377D1}"/>
              </a:ext>
            </a:extLst>
          </p:cNvPr>
          <p:cNvGrpSpPr/>
          <p:nvPr/>
        </p:nvGrpSpPr>
        <p:grpSpPr>
          <a:xfrm>
            <a:off x="4539915" y="1906363"/>
            <a:ext cx="3112169" cy="3894651"/>
            <a:chOff x="4539915" y="1481674"/>
            <a:chExt cx="3112169" cy="3894651"/>
          </a:xfrm>
        </p:grpSpPr>
        <p:sp>
          <p:nvSpPr>
            <p:cNvPr id="30" name="Shape">
              <a:extLst>
                <a:ext uri="{FF2B5EF4-FFF2-40B4-BE49-F238E27FC236}">
                  <a16:creationId xmlns:a16="http://schemas.microsoft.com/office/drawing/2014/main" id="{A4AE0035-870E-A707-5DE6-BED324C88FB2}"/>
                </a:ext>
              </a:extLst>
            </p:cNvPr>
            <p:cNvSpPr/>
            <p:nvPr/>
          </p:nvSpPr>
          <p:spPr>
            <a:xfrm>
              <a:off x="4539915" y="1830890"/>
              <a:ext cx="2674761" cy="3545435"/>
            </a:xfrm>
            <a:custGeom>
              <a:avLst/>
              <a:gdLst/>
              <a:ahLst/>
              <a:cxnLst>
                <a:cxn ang="0">
                  <a:pos x="wd2" y="hd2"/>
                </a:cxn>
                <a:cxn ang="5400000">
                  <a:pos x="wd2" y="hd2"/>
                </a:cxn>
                <a:cxn ang="10800000">
                  <a:pos x="wd2" y="hd2"/>
                </a:cxn>
                <a:cxn ang="16200000">
                  <a:pos x="wd2" y="hd2"/>
                </a:cxn>
              </a:cxnLst>
              <a:rect l="0" t="0" r="r" b="b"/>
              <a:pathLst>
                <a:path w="21600" h="21600" extrusionOk="0">
                  <a:moveTo>
                    <a:pt x="20381" y="21600"/>
                  </a:moveTo>
                  <a:lnTo>
                    <a:pt x="1219" y="21600"/>
                  </a:lnTo>
                  <a:cubicBezTo>
                    <a:pt x="545" y="21600"/>
                    <a:pt x="0" y="21189"/>
                    <a:pt x="0" y="20680"/>
                  </a:cubicBezTo>
                  <a:lnTo>
                    <a:pt x="0" y="920"/>
                  </a:lnTo>
                  <a:cubicBezTo>
                    <a:pt x="0" y="411"/>
                    <a:pt x="545" y="0"/>
                    <a:pt x="1219" y="0"/>
                  </a:cubicBezTo>
                  <a:lnTo>
                    <a:pt x="20381" y="0"/>
                  </a:lnTo>
                  <a:cubicBezTo>
                    <a:pt x="21055" y="0"/>
                    <a:pt x="21600" y="411"/>
                    <a:pt x="21600" y="920"/>
                  </a:cubicBezTo>
                  <a:lnTo>
                    <a:pt x="21600" y="20680"/>
                  </a:lnTo>
                  <a:cubicBezTo>
                    <a:pt x="21595" y="21189"/>
                    <a:pt x="21050" y="21600"/>
                    <a:pt x="20381" y="21600"/>
                  </a:cubicBezTo>
                  <a:close/>
                </a:path>
              </a:pathLst>
            </a:custGeom>
            <a:solidFill>
              <a:schemeClr val="accent3">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31" name="Shape">
              <a:extLst>
                <a:ext uri="{FF2B5EF4-FFF2-40B4-BE49-F238E27FC236}">
                  <a16:creationId xmlns:a16="http://schemas.microsoft.com/office/drawing/2014/main" id="{63544E05-7849-7381-C6B7-DDD935A4B14C}"/>
                </a:ext>
              </a:extLst>
            </p:cNvPr>
            <p:cNvSpPr/>
            <p:nvPr/>
          </p:nvSpPr>
          <p:spPr>
            <a:xfrm>
              <a:off x="4634618" y="1830890"/>
              <a:ext cx="2674761" cy="3545435"/>
            </a:xfrm>
            <a:custGeom>
              <a:avLst/>
              <a:gdLst/>
              <a:ahLst/>
              <a:cxnLst>
                <a:cxn ang="0">
                  <a:pos x="wd2" y="hd2"/>
                </a:cxn>
                <a:cxn ang="5400000">
                  <a:pos x="wd2" y="hd2"/>
                </a:cxn>
                <a:cxn ang="10800000">
                  <a:pos x="wd2" y="hd2"/>
                </a:cxn>
                <a:cxn ang="16200000">
                  <a:pos x="wd2" y="hd2"/>
                </a:cxn>
              </a:cxnLst>
              <a:rect l="0" t="0" r="r" b="b"/>
              <a:pathLst>
                <a:path w="21600" h="21600" extrusionOk="0">
                  <a:moveTo>
                    <a:pt x="20381" y="21600"/>
                  </a:moveTo>
                  <a:lnTo>
                    <a:pt x="1219" y="21600"/>
                  </a:lnTo>
                  <a:cubicBezTo>
                    <a:pt x="545" y="21600"/>
                    <a:pt x="0" y="21189"/>
                    <a:pt x="0" y="20680"/>
                  </a:cubicBezTo>
                  <a:lnTo>
                    <a:pt x="0" y="920"/>
                  </a:lnTo>
                  <a:cubicBezTo>
                    <a:pt x="0" y="411"/>
                    <a:pt x="545" y="0"/>
                    <a:pt x="1219" y="0"/>
                  </a:cubicBezTo>
                  <a:lnTo>
                    <a:pt x="20381" y="0"/>
                  </a:lnTo>
                  <a:cubicBezTo>
                    <a:pt x="21055" y="0"/>
                    <a:pt x="21600" y="411"/>
                    <a:pt x="21600" y="920"/>
                  </a:cubicBezTo>
                  <a:lnTo>
                    <a:pt x="21600" y="20680"/>
                  </a:lnTo>
                  <a:cubicBezTo>
                    <a:pt x="21595" y="21189"/>
                    <a:pt x="21050" y="21600"/>
                    <a:pt x="20381" y="21600"/>
                  </a:cubicBezTo>
                  <a:close/>
                </a:path>
              </a:pathLst>
            </a:custGeom>
            <a:solidFill>
              <a:schemeClr val="accent3"/>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32" name="Shape">
              <a:extLst>
                <a:ext uri="{FF2B5EF4-FFF2-40B4-BE49-F238E27FC236}">
                  <a16:creationId xmlns:a16="http://schemas.microsoft.com/office/drawing/2014/main" id="{1C76ED71-1D87-5FC9-0380-A02B0F41DF67}"/>
                </a:ext>
              </a:extLst>
            </p:cNvPr>
            <p:cNvSpPr/>
            <p:nvPr/>
          </p:nvSpPr>
          <p:spPr>
            <a:xfrm>
              <a:off x="4782591" y="2221539"/>
              <a:ext cx="2745196" cy="30470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7194" y="0"/>
                  </a:lnTo>
                  <a:cubicBezTo>
                    <a:pt x="17194" y="0"/>
                    <a:pt x="17194" y="11652"/>
                    <a:pt x="21600" y="20467"/>
                  </a:cubicBezTo>
                  <a:lnTo>
                    <a:pt x="3498" y="21600"/>
                  </a:lnTo>
                  <a:cubicBezTo>
                    <a:pt x="3493" y="21600"/>
                    <a:pt x="0" y="19456"/>
                    <a:pt x="0" y="0"/>
                  </a:cubicBezTo>
                  <a:close/>
                </a:path>
              </a:pathLst>
            </a:custGeom>
            <a:solidFill>
              <a:schemeClr val="accent3">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34" name="Shape">
              <a:extLst>
                <a:ext uri="{FF2B5EF4-FFF2-40B4-BE49-F238E27FC236}">
                  <a16:creationId xmlns:a16="http://schemas.microsoft.com/office/drawing/2014/main" id="{1A8706FC-2D09-9713-CB39-741BFC78CF9C}"/>
                </a:ext>
              </a:extLst>
            </p:cNvPr>
            <p:cNvSpPr/>
            <p:nvPr/>
          </p:nvSpPr>
          <p:spPr>
            <a:xfrm>
              <a:off x="4906888" y="2144593"/>
              <a:ext cx="2745196" cy="30470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7194" y="0"/>
                  </a:lnTo>
                  <a:cubicBezTo>
                    <a:pt x="17194" y="0"/>
                    <a:pt x="17194" y="11652"/>
                    <a:pt x="21600" y="20467"/>
                  </a:cubicBezTo>
                  <a:lnTo>
                    <a:pt x="3498" y="21600"/>
                  </a:lnTo>
                  <a:cubicBezTo>
                    <a:pt x="3493" y="21600"/>
                    <a:pt x="0" y="19456"/>
                    <a:pt x="0" y="0"/>
                  </a:cubicBezTo>
                  <a:close/>
                </a:path>
              </a:pathLst>
            </a:custGeom>
            <a:solidFill>
              <a:schemeClr val="bg1"/>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dirty="0"/>
            </a:p>
          </p:txBody>
        </p:sp>
        <p:sp>
          <p:nvSpPr>
            <p:cNvPr id="35" name="Shape">
              <a:extLst>
                <a:ext uri="{FF2B5EF4-FFF2-40B4-BE49-F238E27FC236}">
                  <a16:creationId xmlns:a16="http://schemas.microsoft.com/office/drawing/2014/main" id="{64B42A3F-EB7B-A863-E0C1-6A911D3D1C95}"/>
                </a:ext>
              </a:extLst>
            </p:cNvPr>
            <p:cNvSpPr/>
            <p:nvPr/>
          </p:nvSpPr>
          <p:spPr>
            <a:xfrm>
              <a:off x="5012541" y="1481674"/>
              <a:ext cx="1918915" cy="857504"/>
            </a:xfrm>
            <a:custGeom>
              <a:avLst/>
              <a:gdLst/>
              <a:ahLst/>
              <a:cxnLst>
                <a:cxn ang="0">
                  <a:pos x="wd2" y="hd2"/>
                </a:cxn>
                <a:cxn ang="5400000">
                  <a:pos x="wd2" y="hd2"/>
                </a:cxn>
                <a:cxn ang="10800000">
                  <a:pos x="wd2" y="hd2"/>
                </a:cxn>
                <a:cxn ang="16200000">
                  <a:pos x="wd2" y="hd2"/>
                </a:cxn>
              </a:cxnLst>
              <a:rect l="0" t="0" r="r" b="b"/>
              <a:pathLst>
                <a:path w="21600" h="21302" extrusionOk="0">
                  <a:moveTo>
                    <a:pt x="14618" y="14788"/>
                  </a:moveTo>
                  <a:cubicBezTo>
                    <a:pt x="13698" y="14641"/>
                    <a:pt x="13738" y="11627"/>
                    <a:pt x="14658" y="11597"/>
                  </a:cubicBezTo>
                  <a:cubicBezTo>
                    <a:pt x="14671" y="11597"/>
                    <a:pt x="14691" y="11597"/>
                    <a:pt x="14704" y="11597"/>
                  </a:cubicBezTo>
                  <a:cubicBezTo>
                    <a:pt x="16303" y="11597"/>
                    <a:pt x="16903" y="8951"/>
                    <a:pt x="16403" y="8510"/>
                  </a:cubicBezTo>
                  <a:cubicBezTo>
                    <a:pt x="15904" y="8069"/>
                    <a:pt x="12805" y="6304"/>
                    <a:pt x="12805" y="3657"/>
                  </a:cubicBezTo>
                  <a:cubicBezTo>
                    <a:pt x="12805" y="2525"/>
                    <a:pt x="12432" y="1584"/>
                    <a:pt x="12013" y="893"/>
                  </a:cubicBezTo>
                  <a:cubicBezTo>
                    <a:pt x="11293" y="-298"/>
                    <a:pt x="10314" y="-298"/>
                    <a:pt x="9594" y="893"/>
                  </a:cubicBezTo>
                  <a:cubicBezTo>
                    <a:pt x="9174" y="1584"/>
                    <a:pt x="8801" y="2525"/>
                    <a:pt x="8801" y="3657"/>
                  </a:cubicBezTo>
                  <a:cubicBezTo>
                    <a:pt x="8801" y="6304"/>
                    <a:pt x="5703" y="8069"/>
                    <a:pt x="5203" y="8510"/>
                  </a:cubicBezTo>
                  <a:cubicBezTo>
                    <a:pt x="4704" y="8951"/>
                    <a:pt x="5303" y="11597"/>
                    <a:pt x="6902" y="11597"/>
                  </a:cubicBezTo>
                  <a:cubicBezTo>
                    <a:pt x="6916" y="11597"/>
                    <a:pt x="6936" y="11597"/>
                    <a:pt x="6949" y="11597"/>
                  </a:cubicBezTo>
                  <a:cubicBezTo>
                    <a:pt x="7868" y="11627"/>
                    <a:pt x="7908" y="14641"/>
                    <a:pt x="6989" y="14788"/>
                  </a:cubicBezTo>
                  <a:cubicBezTo>
                    <a:pt x="5037" y="15097"/>
                    <a:pt x="620" y="16347"/>
                    <a:pt x="0" y="21302"/>
                  </a:cubicBezTo>
                  <a:lnTo>
                    <a:pt x="10800" y="21302"/>
                  </a:lnTo>
                  <a:lnTo>
                    <a:pt x="21600" y="21302"/>
                  </a:lnTo>
                  <a:cubicBezTo>
                    <a:pt x="20980" y="16347"/>
                    <a:pt x="16570" y="15112"/>
                    <a:pt x="14618" y="14788"/>
                  </a:cubicBezTo>
                  <a:close/>
                  <a:moveTo>
                    <a:pt x="10800" y="5025"/>
                  </a:moveTo>
                  <a:cubicBezTo>
                    <a:pt x="10387" y="5025"/>
                    <a:pt x="10047" y="4290"/>
                    <a:pt x="10047" y="3363"/>
                  </a:cubicBezTo>
                  <a:cubicBezTo>
                    <a:pt x="10047" y="2437"/>
                    <a:pt x="10380" y="1702"/>
                    <a:pt x="10800" y="1702"/>
                  </a:cubicBezTo>
                  <a:cubicBezTo>
                    <a:pt x="11220" y="1702"/>
                    <a:pt x="11553" y="2437"/>
                    <a:pt x="11553" y="3363"/>
                  </a:cubicBezTo>
                  <a:cubicBezTo>
                    <a:pt x="11553" y="4290"/>
                    <a:pt x="11213" y="5025"/>
                    <a:pt x="10800" y="5025"/>
                  </a:cubicBezTo>
                  <a:close/>
                </a:path>
              </a:pathLst>
            </a:custGeom>
            <a:solidFill>
              <a:schemeClr val="tx1">
                <a:lumMod val="50000"/>
                <a:lumOff val="50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grpSp>
      <p:grpSp>
        <p:nvGrpSpPr>
          <p:cNvPr id="36" name="Group 3">
            <a:extLst>
              <a:ext uri="{FF2B5EF4-FFF2-40B4-BE49-F238E27FC236}">
                <a16:creationId xmlns:a16="http://schemas.microsoft.com/office/drawing/2014/main" id="{A0BE8468-5001-A448-5F7E-B9B5494265B2}"/>
              </a:ext>
            </a:extLst>
          </p:cNvPr>
          <p:cNvGrpSpPr/>
          <p:nvPr/>
        </p:nvGrpSpPr>
        <p:grpSpPr>
          <a:xfrm>
            <a:off x="8001544" y="1906363"/>
            <a:ext cx="3106250" cy="3894651"/>
            <a:chOff x="8079146" y="1481674"/>
            <a:chExt cx="3106250" cy="3894651"/>
          </a:xfrm>
        </p:grpSpPr>
        <p:sp>
          <p:nvSpPr>
            <p:cNvPr id="37" name="Shape">
              <a:extLst>
                <a:ext uri="{FF2B5EF4-FFF2-40B4-BE49-F238E27FC236}">
                  <a16:creationId xmlns:a16="http://schemas.microsoft.com/office/drawing/2014/main" id="{C9914860-C39F-B6C0-E548-D9780AABB298}"/>
                </a:ext>
              </a:extLst>
            </p:cNvPr>
            <p:cNvSpPr/>
            <p:nvPr/>
          </p:nvSpPr>
          <p:spPr>
            <a:xfrm>
              <a:off x="8079146" y="1830890"/>
              <a:ext cx="2674761" cy="3545435"/>
            </a:xfrm>
            <a:custGeom>
              <a:avLst/>
              <a:gdLst/>
              <a:ahLst/>
              <a:cxnLst>
                <a:cxn ang="0">
                  <a:pos x="wd2" y="hd2"/>
                </a:cxn>
                <a:cxn ang="5400000">
                  <a:pos x="wd2" y="hd2"/>
                </a:cxn>
                <a:cxn ang="10800000">
                  <a:pos x="wd2" y="hd2"/>
                </a:cxn>
                <a:cxn ang="16200000">
                  <a:pos x="wd2" y="hd2"/>
                </a:cxn>
              </a:cxnLst>
              <a:rect l="0" t="0" r="r" b="b"/>
              <a:pathLst>
                <a:path w="21600" h="21600" extrusionOk="0">
                  <a:moveTo>
                    <a:pt x="20381" y="21600"/>
                  </a:moveTo>
                  <a:lnTo>
                    <a:pt x="1219" y="21600"/>
                  </a:lnTo>
                  <a:cubicBezTo>
                    <a:pt x="545" y="21600"/>
                    <a:pt x="0" y="21189"/>
                    <a:pt x="0" y="20680"/>
                  </a:cubicBezTo>
                  <a:lnTo>
                    <a:pt x="0" y="920"/>
                  </a:lnTo>
                  <a:cubicBezTo>
                    <a:pt x="0" y="411"/>
                    <a:pt x="545" y="0"/>
                    <a:pt x="1219" y="0"/>
                  </a:cubicBezTo>
                  <a:lnTo>
                    <a:pt x="20381" y="0"/>
                  </a:lnTo>
                  <a:cubicBezTo>
                    <a:pt x="21055" y="0"/>
                    <a:pt x="21600" y="411"/>
                    <a:pt x="21600" y="920"/>
                  </a:cubicBezTo>
                  <a:lnTo>
                    <a:pt x="21600" y="20680"/>
                  </a:lnTo>
                  <a:cubicBezTo>
                    <a:pt x="21595" y="21189"/>
                    <a:pt x="21050" y="21600"/>
                    <a:pt x="20381" y="21600"/>
                  </a:cubicBezTo>
                  <a:close/>
                </a:path>
              </a:pathLst>
            </a:custGeom>
            <a:solidFill>
              <a:schemeClr val="accent6">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38" name="Shape">
              <a:extLst>
                <a:ext uri="{FF2B5EF4-FFF2-40B4-BE49-F238E27FC236}">
                  <a16:creationId xmlns:a16="http://schemas.microsoft.com/office/drawing/2014/main" id="{B7122D85-6F44-12E6-A000-39272AB1D82F}"/>
                </a:ext>
              </a:extLst>
            </p:cNvPr>
            <p:cNvSpPr/>
            <p:nvPr/>
          </p:nvSpPr>
          <p:spPr>
            <a:xfrm>
              <a:off x="8173848" y="1830890"/>
              <a:ext cx="2674761" cy="3545435"/>
            </a:xfrm>
            <a:custGeom>
              <a:avLst/>
              <a:gdLst/>
              <a:ahLst/>
              <a:cxnLst>
                <a:cxn ang="0">
                  <a:pos x="wd2" y="hd2"/>
                </a:cxn>
                <a:cxn ang="5400000">
                  <a:pos x="wd2" y="hd2"/>
                </a:cxn>
                <a:cxn ang="10800000">
                  <a:pos x="wd2" y="hd2"/>
                </a:cxn>
                <a:cxn ang="16200000">
                  <a:pos x="wd2" y="hd2"/>
                </a:cxn>
              </a:cxnLst>
              <a:rect l="0" t="0" r="r" b="b"/>
              <a:pathLst>
                <a:path w="21600" h="21600" extrusionOk="0">
                  <a:moveTo>
                    <a:pt x="20381" y="21600"/>
                  </a:moveTo>
                  <a:lnTo>
                    <a:pt x="1219" y="21600"/>
                  </a:lnTo>
                  <a:cubicBezTo>
                    <a:pt x="545" y="21600"/>
                    <a:pt x="0" y="21189"/>
                    <a:pt x="0" y="20680"/>
                  </a:cubicBezTo>
                  <a:lnTo>
                    <a:pt x="0" y="920"/>
                  </a:lnTo>
                  <a:cubicBezTo>
                    <a:pt x="0" y="411"/>
                    <a:pt x="545" y="0"/>
                    <a:pt x="1219" y="0"/>
                  </a:cubicBezTo>
                  <a:lnTo>
                    <a:pt x="20381" y="0"/>
                  </a:lnTo>
                  <a:cubicBezTo>
                    <a:pt x="21055" y="0"/>
                    <a:pt x="21600" y="411"/>
                    <a:pt x="21600" y="920"/>
                  </a:cubicBezTo>
                  <a:lnTo>
                    <a:pt x="21600" y="20680"/>
                  </a:lnTo>
                  <a:cubicBezTo>
                    <a:pt x="21595" y="21189"/>
                    <a:pt x="21050" y="21600"/>
                    <a:pt x="20381" y="21600"/>
                  </a:cubicBezTo>
                  <a:close/>
                </a:path>
              </a:pathLst>
            </a:custGeom>
            <a:solidFill>
              <a:schemeClr val="accent6"/>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39" name="Shape">
              <a:extLst>
                <a:ext uri="{FF2B5EF4-FFF2-40B4-BE49-F238E27FC236}">
                  <a16:creationId xmlns:a16="http://schemas.microsoft.com/office/drawing/2014/main" id="{FAA41BD7-BC60-B4D2-60DA-E34D5F92657B}"/>
                </a:ext>
              </a:extLst>
            </p:cNvPr>
            <p:cNvSpPr/>
            <p:nvPr/>
          </p:nvSpPr>
          <p:spPr>
            <a:xfrm>
              <a:off x="8315902" y="2221539"/>
              <a:ext cx="2745196" cy="30470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7194" y="0"/>
                  </a:lnTo>
                  <a:cubicBezTo>
                    <a:pt x="17194" y="0"/>
                    <a:pt x="17194" y="11652"/>
                    <a:pt x="21600" y="20467"/>
                  </a:cubicBezTo>
                  <a:lnTo>
                    <a:pt x="3498" y="21600"/>
                  </a:lnTo>
                  <a:cubicBezTo>
                    <a:pt x="3493" y="21600"/>
                    <a:pt x="0" y="19456"/>
                    <a:pt x="0" y="0"/>
                  </a:cubicBezTo>
                  <a:close/>
                </a:path>
              </a:pathLst>
            </a:custGeom>
            <a:solidFill>
              <a:schemeClr val="accent6">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40" name="Shape">
              <a:extLst>
                <a:ext uri="{FF2B5EF4-FFF2-40B4-BE49-F238E27FC236}">
                  <a16:creationId xmlns:a16="http://schemas.microsoft.com/office/drawing/2014/main" id="{44776C09-8B83-616A-FEA3-7EBDDDF8E8FC}"/>
                </a:ext>
              </a:extLst>
            </p:cNvPr>
            <p:cNvSpPr/>
            <p:nvPr/>
          </p:nvSpPr>
          <p:spPr>
            <a:xfrm>
              <a:off x="8440200" y="2144593"/>
              <a:ext cx="2745196" cy="30470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7194" y="0"/>
                  </a:lnTo>
                  <a:cubicBezTo>
                    <a:pt x="17194" y="0"/>
                    <a:pt x="17194" y="11652"/>
                    <a:pt x="21600" y="20467"/>
                  </a:cubicBezTo>
                  <a:lnTo>
                    <a:pt x="3498" y="21600"/>
                  </a:lnTo>
                  <a:cubicBezTo>
                    <a:pt x="3493" y="21600"/>
                    <a:pt x="0" y="19456"/>
                    <a:pt x="0" y="0"/>
                  </a:cubicBezTo>
                  <a:close/>
                </a:path>
              </a:pathLst>
            </a:custGeom>
            <a:solidFill>
              <a:schemeClr val="bg1"/>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41" name="Shape">
              <a:extLst>
                <a:ext uri="{FF2B5EF4-FFF2-40B4-BE49-F238E27FC236}">
                  <a16:creationId xmlns:a16="http://schemas.microsoft.com/office/drawing/2014/main" id="{04EEC78D-4FA0-3ADF-2AE9-37A803E14B8F}"/>
                </a:ext>
              </a:extLst>
            </p:cNvPr>
            <p:cNvSpPr/>
            <p:nvPr/>
          </p:nvSpPr>
          <p:spPr>
            <a:xfrm>
              <a:off x="8551771" y="1481674"/>
              <a:ext cx="1918915" cy="857504"/>
            </a:xfrm>
            <a:custGeom>
              <a:avLst/>
              <a:gdLst/>
              <a:ahLst/>
              <a:cxnLst>
                <a:cxn ang="0">
                  <a:pos x="wd2" y="hd2"/>
                </a:cxn>
                <a:cxn ang="5400000">
                  <a:pos x="wd2" y="hd2"/>
                </a:cxn>
                <a:cxn ang="10800000">
                  <a:pos x="wd2" y="hd2"/>
                </a:cxn>
                <a:cxn ang="16200000">
                  <a:pos x="wd2" y="hd2"/>
                </a:cxn>
              </a:cxnLst>
              <a:rect l="0" t="0" r="r" b="b"/>
              <a:pathLst>
                <a:path w="21600" h="21302" extrusionOk="0">
                  <a:moveTo>
                    <a:pt x="14618" y="14788"/>
                  </a:moveTo>
                  <a:cubicBezTo>
                    <a:pt x="13698" y="14641"/>
                    <a:pt x="13738" y="11627"/>
                    <a:pt x="14658" y="11597"/>
                  </a:cubicBezTo>
                  <a:cubicBezTo>
                    <a:pt x="14671" y="11597"/>
                    <a:pt x="14691" y="11597"/>
                    <a:pt x="14704" y="11597"/>
                  </a:cubicBezTo>
                  <a:cubicBezTo>
                    <a:pt x="16303" y="11597"/>
                    <a:pt x="16903" y="8951"/>
                    <a:pt x="16403" y="8510"/>
                  </a:cubicBezTo>
                  <a:cubicBezTo>
                    <a:pt x="15904" y="8069"/>
                    <a:pt x="12805" y="6304"/>
                    <a:pt x="12805" y="3657"/>
                  </a:cubicBezTo>
                  <a:cubicBezTo>
                    <a:pt x="12805" y="2525"/>
                    <a:pt x="12432" y="1584"/>
                    <a:pt x="12013" y="893"/>
                  </a:cubicBezTo>
                  <a:cubicBezTo>
                    <a:pt x="11293" y="-298"/>
                    <a:pt x="10314" y="-298"/>
                    <a:pt x="9594" y="893"/>
                  </a:cubicBezTo>
                  <a:cubicBezTo>
                    <a:pt x="9174" y="1584"/>
                    <a:pt x="8801" y="2525"/>
                    <a:pt x="8801" y="3657"/>
                  </a:cubicBezTo>
                  <a:cubicBezTo>
                    <a:pt x="8801" y="6304"/>
                    <a:pt x="5703" y="8069"/>
                    <a:pt x="5203" y="8510"/>
                  </a:cubicBezTo>
                  <a:cubicBezTo>
                    <a:pt x="4704" y="8951"/>
                    <a:pt x="5303" y="11597"/>
                    <a:pt x="6902" y="11597"/>
                  </a:cubicBezTo>
                  <a:cubicBezTo>
                    <a:pt x="6916" y="11597"/>
                    <a:pt x="6936" y="11597"/>
                    <a:pt x="6949" y="11597"/>
                  </a:cubicBezTo>
                  <a:cubicBezTo>
                    <a:pt x="7868" y="11627"/>
                    <a:pt x="7908" y="14641"/>
                    <a:pt x="6989" y="14788"/>
                  </a:cubicBezTo>
                  <a:cubicBezTo>
                    <a:pt x="5037" y="15097"/>
                    <a:pt x="620" y="16347"/>
                    <a:pt x="0" y="21302"/>
                  </a:cubicBezTo>
                  <a:lnTo>
                    <a:pt x="10800" y="21302"/>
                  </a:lnTo>
                  <a:lnTo>
                    <a:pt x="21600" y="21302"/>
                  </a:lnTo>
                  <a:cubicBezTo>
                    <a:pt x="20980" y="16347"/>
                    <a:pt x="16570" y="15112"/>
                    <a:pt x="14618" y="14788"/>
                  </a:cubicBezTo>
                  <a:close/>
                  <a:moveTo>
                    <a:pt x="10800" y="5025"/>
                  </a:moveTo>
                  <a:cubicBezTo>
                    <a:pt x="10387" y="5025"/>
                    <a:pt x="10047" y="4290"/>
                    <a:pt x="10047" y="3363"/>
                  </a:cubicBezTo>
                  <a:cubicBezTo>
                    <a:pt x="10047" y="2437"/>
                    <a:pt x="10380" y="1702"/>
                    <a:pt x="10800" y="1702"/>
                  </a:cubicBezTo>
                  <a:cubicBezTo>
                    <a:pt x="11213" y="1702"/>
                    <a:pt x="11553" y="2437"/>
                    <a:pt x="11553" y="3363"/>
                  </a:cubicBezTo>
                  <a:cubicBezTo>
                    <a:pt x="11553" y="4290"/>
                    <a:pt x="11213" y="5025"/>
                    <a:pt x="10800" y="5025"/>
                  </a:cubicBezTo>
                  <a:close/>
                </a:path>
              </a:pathLst>
            </a:custGeom>
            <a:solidFill>
              <a:schemeClr val="tx1">
                <a:lumMod val="50000"/>
                <a:lumOff val="50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grpSp>
      <p:grpSp>
        <p:nvGrpSpPr>
          <p:cNvPr id="42" name="Group 4">
            <a:extLst>
              <a:ext uri="{FF2B5EF4-FFF2-40B4-BE49-F238E27FC236}">
                <a16:creationId xmlns:a16="http://schemas.microsoft.com/office/drawing/2014/main" id="{27FCBB9F-1B93-DDD7-0C9A-43B8F5CC67C9}"/>
              </a:ext>
            </a:extLst>
          </p:cNvPr>
          <p:cNvGrpSpPr/>
          <p:nvPr/>
        </p:nvGrpSpPr>
        <p:grpSpPr>
          <a:xfrm>
            <a:off x="1006603" y="1906363"/>
            <a:ext cx="3333585" cy="3894651"/>
            <a:chOff x="1006604" y="1481674"/>
            <a:chExt cx="3106250" cy="3894651"/>
          </a:xfrm>
        </p:grpSpPr>
        <p:sp>
          <p:nvSpPr>
            <p:cNvPr id="43" name="Shape">
              <a:extLst>
                <a:ext uri="{FF2B5EF4-FFF2-40B4-BE49-F238E27FC236}">
                  <a16:creationId xmlns:a16="http://schemas.microsoft.com/office/drawing/2014/main" id="{6F55CD4C-6D0B-DD72-AD87-7F00DA104247}"/>
                </a:ext>
              </a:extLst>
            </p:cNvPr>
            <p:cNvSpPr/>
            <p:nvPr/>
          </p:nvSpPr>
          <p:spPr>
            <a:xfrm>
              <a:off x="1006604" y="1830890"/>
              <a:ext cx="2674761" cy="3545435"/>
            </a:xfrm>
            <a:custGeom>
              <a:avLst/>
              <a:gdLst/>
              <a:ahLst/>
              <a:cxnLst>
                <a:cxn ang="0">
                  <a:pos x="wd2" y="hd2"/>
                </a:cxn>
                <a:cxn ang="5400000">
                  <a:pos x="wd2" y="hd2"/>
                </a:cxn>
                <a:cxn ang="10800000">
                  <a:pos x="wd2" y="hd2"/>
                </a:cxn>
                <a:cxn ang="16200000">
                  <a:pos x="wd2" y="hd2"/>
                </a:cxn>
              </a:cxnLst>
              <a:rect l="0" t="0" r="r" b="b"/>
              <a:pathLst>
                <a:path w="21600" h="21600" extrusionOk="0">
                  <a:moveTo>
                    <a:pt x="20381" y="21600"/>
                  </a:moveTo>
                  <a:lnTo>
                    <a:pt x="1219" y="21600"/>
                  </a:lnTo>
                  <a:cubicBezTo>
                    <a:pt x="545" y="21600"/>
                    <a:pt x="0" y="21189"/>
                    <a:pt x="0" y="20680"/>
                  </a:cubicBezTo>
                  <a:lnTo>
                    <a:pt x="0" y="920"/>
                  </a:lnTo>
                  <a:cubicBezTo>
                    <a:pt x="0" y="411"/>
                    <a:pt x="545" y="0"/>
                    <a:pt x="1219" y="0"/>
                  </a:cubicBezTo>
                  <a:lnTo>
                    <a:pt x="20381" y="0"/>
                  </a:lnTo>
                  <a:cubicBezTo>
                    <a:pt x="21055" y="0"/>
                    <a:pt x="21600" y="411"/>
                    <a:pt x="21600" y="920"/>
                  </a:cubicBezTo>
                  <a:lnTo>
                    <a:pt x="21600" y="20680"/>
                  </a:lnTo>
                  <a:cubicBezTo>
                    <a:pt x="21595" y="21189"/>
                    <a:pt x="21050" y="21600"/>
                    <a:pt x="20381" y="21600"/>
                  </a:cubicBezTo>
                  <a:close/>
                </a:path>
              </a:pathLst>
            </a:custGeom>
            <a:solidFill>
              <a:schemeClr val="accent4">
                <a:lumMod val="50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44" name="Shape">
              <a:extLst>
                <a:ext uri="{FF2B5EF4-FFF2-40B4-BE49-F238E27FC236}">
                  <a16:creationId xmlns:a16="http://schemas.microsoft.com/office/drawing/2014/main" id="{AC06EE51-5C61-9171-AB17-F3D264FE5D25}"/>
                </a:ext>
              </a:extLst>
            </p:cNvPr>
            <p:cNvSpPr/>
            <p:nvPr/>
          </p:nvSpPr>
          <p:spPr>
            <a:xfrm>
              <a:off x="1101307" y="1830890"/>
              <a:ext cx="2674761" cy="3545435"/>
            </a:xfrm>
            <a:custGeom>
              <a:avLst/>
              <a:gdLst/>
              <a:ahLst/>
              <a:cxnLst>
                <a:cxn ang="0">
                  <a:pos x="wd2" y="hd2"/>
                </a:cxn>
                <a:cxn ang="5400000">
                  <a:pos x="wd2" y="hd2"/>
                </a:cxn>
                <a:cxn ang="10800000">
                  <a:pos x="wd2" y="hd2"/>
                </a:cxn>
                <a:cxn ang="16200000">
                  <a:pos x="wd2" y="hd2"/>
                </a:cxn>
              </a:cxnLst>
              <a:rect l="0" t="0" r="r" b="b"/>
              <a:pathLst>
                <a:path w="21600" h="21600" extrusionOk="0">
                  <a:moveTo>
                    <a:pt x="20381" y="21600"/>
                  </a:moveTo>
                  <a:lnTo>
                    <a:pt x="1219" y="21600"/>
                  </a:lnTo>
                  <a:cubicBezTo>
                    <a:pt x="545" y="21600"/>
                    <a:pt x="0" y="21189"/>
                    <a:pt x="0" y="20680"/>
                  </a:cubicBezTo>
                  <a:lnTo>
                    <a:pt x="0" y="920"/>
                  </a:lnTo>
                  <a:cubicBezTo>
                    <a:pt x="0" y="411"/>
                    <a:pt x="545" y="0"/>
                    <a:pt x="1219" y="0"/>
                  </a:cubicBezTo>
                  <a:lnTo>
                    <a:pt x="20381" y="0"/>
                  </a:lnTo>
                  <a:cubicBezTo>
                    <a:pt x="21055" y="0"/>
                    <a:pt x="21600" y="411"/>
                    <a:pt x="21600" y="920"/>
                  </a:cubicBezTo>
                  <a:lnTo>
                    <a:pt x="21600" y="20680"/>
                  </a:lnTo>
                  <a:cubicBezTo>
                    <a:pt x="21595" y="21189"/>
                    <a:pt x="21050" y="21600"/>
                    <a:pt x="20381" y="21600"/>
                  </a:cubicBezTo>
                  <a:close/>
                </a:path>
              </a:pathLst>
            </a:custGeom>
            <a:solidFill>
              <a:schemeClr val="accent4">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45" name="Shape">
              <a:extLst>
                <a:ext uri="{FF2B5EF4-FFF2-40B4-BE49-F238E27FC236}">
                  <a16:creationId xmlns:a16="http://schemas.microsoft.com/office/drawing/2014/main" id="{BD2ECB04-F7A0-506F-6F42-004E7E47B288}"/>
                </a:ext>
              </a:extLst>
            </p:cNvPr>
            <p:cNvSpPr/>
            <p:nvPr/>
          </p:nvSpPr>
          <p:spPr>
            <a:xfrm>
              <a:off x="1243361" y="2221539"/>
              <a:ext cx="2745196" cy="30470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7194" y="0"/>
                  </a:lnTo>
                  <a:cubicBezTo>
                    <a:pt x="17194" y="0"/>
                    <a:pt x="17194" y="11652"/>
                    <a:pt x="21600" y="20467"/>
                  </a:cubicBezTo>
                  <a:lnTo>
                    <a:pt x="3498" y="21600"/>
                  </a:lnTo>
                  <a:cubicBezTo>
                    <a:pt x="3493" y="21600"/>
                    <a:pt x="0" y="19456"/>
                    <a:pt x="0" y="0"/>
                  </a:cubicBezTo>
                  <a:close/>
                </a:path>
              </a:pathLst>
            </a:custGeom>
            <a:solidFill>
              <a:schemeClr val="accent4">
                <a:lumMod val="50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46" name="Shape">
              <a:extLst>
                <a:ext uri="{FF2B5EF4-FFF2-40B4-BE49-F238E27FC236}">
                  <a16:creationId xmlns:a16="http://schemas.microsoft.com/office/drawing/2014/main" id="{5CB9140A-5931-5486-3FE1-6C78F08B5892}"/>
                </a:ext>
              </a:extLst>
            </p:cNvPr>
            <p:cNvSpPr/>
            <p:nvPr/>
          </p:nvSpPr>
          <p:spPr>
            <a:xfrm>
              <a:off x="1367658" y="2144593"/>
              <a:ext cx="2745196" cy="30470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7194" y="0"/>
                  </a:lnTo>
                  <a:cubicBezTo>
                    <a:pt x="17194" y="0"/>
                    <a:pt x="17194" y="11652"/>
                    <a:pt x="21600" y="20467"/>
                  </a:cubicBezTo>
                  <a:lnTo>
                    <a:pt x="3498" y="21600"/>
                  </a:lnTo>
                  <a:cubicBezTo>
                    <a:pt x="3493" y="21600"/>
                    <a:pt x="0" y="19456"/>
                    <a:pt x="0" y="0"/>
                  </a:cubicBezTo>
                  <a:close/>
                </a:path>
              </a:pathLst>
            </a:custGeom>
            <a:solidFill>
              <a:schemeClr val="bg1"/>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dirty="0"/>
            </a:p>
          </p:txBody>
        </p:sp>
        <p:sp>
          <p:nvSpPr>
            <p:cNvPr id="47" name="Shape">
              <a:extLst>
                <a:ext uri="{FF2B5EF4-FFF2-40B4-BE49-F238E27FC236}">
                  <a16:creationId xmlns:a16="http://schemas.microsoft.com/office/drawing/2014/main" id="{8F534BFF-0AFD-C985-CCBD-B623D23B020B}"/>
                </a:ext>
              </a:extLst>
            </p:cNvPr>
            <p:cNvSpPr/>
            <p:nvPr/>
          </p:nvSpPr>
          <p:spPr>
            <a:xfrm>
              <a:off x="1479230" y="1481674"/>
              <a:ext cx="1918915" cy="857504"/>
            </a:xfrm>
            <a:custGeom>
              <a:avLst/>
              <a:gdLst/>
              <a:ahLst/>
              <a:cxnLst>
                <a:cxn ang="0">
                  <a:pos x="wd2" y="hd2"/>
                </a:cxn>
                <a:cxn ang="5400000">
                  <a:pos x="wd2" y="hd2"/>
                </a:cxn>
                <a:cxn ang="10800000">
                  <a:pos x="wd2" y="hd2"/>
                </a:cxn>
                <a:cxn ang="16200000">
                  <a:pos x="wd2" y="hd2"/>
                </a:cxn>
              </a:cxnLst>
              <a:rect l="0" t="0" r="r" b="b"/>
              <a:pathLst>
                <a:path w="21600" h="21302" extrusionOk="0">
                  <a:moveTo>
                    <a:pt x="14618" y="14788"/>
                  </a:moveTo>
                  <a:cubicBezTo>
                    <a:pt x="13698" y="14641"/>
                    <a:pt x="13738" y="11627"/>
                    <a:pt x="14658" y="11597"/>
                  </a:cubicBezTo>
                  <a:cubicBezTo>
                    <a:pt x="14671" y="11597"/>
                    <a:pt x="14691" y="11597"/>
                    <a:pt x="14704" y="11597"/>
                  </a:cubicBezTo>
                  <a:cubicBezTo>
                    <a:pt x="16303" y="11597"/>
                    <a:pt x="16903" y="8951"/>
                    <a:pt x="16403" y="8510"/>
                  </a:cubicBezTo>
                  <a:cubicBezTo>
                    <a:pt x="15904" y="8069"/>
                    <a:pt x="12805" y="6304"/>
                    <a:pt x="12805" y="3657"/>
                  </a:cubicBezTo>
                  <a:cubicBezTo>
                    <a:pt x="12805" y="2525"/>
                    <a:pt x="12432" y="1584"/>
                    <a:pt x="12013" y="893"/>
                  </a:cubicBezTo>
                  <a:cubicBezTo>
                    <a:pt x="11293" y="-298"/>
                    <a:pt x="10314" y="-298"/>
                    <a:pt x="9594" y="893"/>
                  </a:cubicBezTo>
                  <a:cubicBezTo>
                    <a:pt x="9174" y="1584"/>
                    <a:pt x="8801" y="2525"/>
                    <a:pt x="8801" y="3657"/>
                  </a:cubicBezTo>
                  <a:cubicBezTo>
                    <a:pt x="8801" y="6304"/>
                    <a:pt x="5703" y="8069"/>
                    <a:pt x="5203" y="8510"/>
                  </a:cubicBezTo>
                  <a:cubicBezTo>
                    <a:pt x="4704" y="8951"/>
                    <a:pt x="5303" y="11597"/>
                    <a:pt x="6902" y="11597"/>
                  </a:cubicBezTo>
                  <a:cubicBezTo>
                    <a:pt x="6916" y="11597"/>
                    <a:pt x="6936" y="11597"/>
                    <a:pt x="6949" y="11597"/>
                  </a:cubicBezTo>
                  <a:cubicBezTo>
                    <a:pt x="7868" y="11627"/>
                    <a:pt x="7908" y="14641"/>
                    <a:pt x="6989" y="14788"/>
                  </a:cubicBezTo>
                  <a:cubicBezTo>
                    <a:pt x="5037" y="15097"/>
                    <a:pt x="620" y="16347"/>
                    <a:pt x="0" y="21302"/>
                  </a:cubicBezTo>
                  <a:lnTo>
                    <a:pt x="10800" y="21302"/>
                  </a:lnTo>
                  <a:lnTo>
                    <a:pt x="21600" y="21302"/>
                  </a:lnTo>
                  <a:cubicBezTo>
                    <a:pt x="20987" y="16347"/>
                    <a:pt x="16576" y="15112"/>
                    <a:pt x="14618" y="14788"/>
                  </a:cubicBezTo>
                  <a:close/>
                  <a:moveTo>
                    <a:pt x="10807" y="5025"/>
                  </a:moveTo>
                  <a:cubicBezTo>
                    <a:pt x="10394" y="5025"/>
                    <a:pt x="10054" y="4290"/>
                    <a:pt x="10054" y="3363"/>
                  </a:cubicBezTo>
                  <a:cubicBezTo>
                    <a:pt x="10054" y="2437"/>
                    <a:pt x="10387" y="1702"/>
                    <a:pt x="10807" y="1702"/>
                  </a:cubicBezTo>
                  <a:cubicBezTo>
                    <a:pt x="11226" y="1702"/>
                    <a:pt x="11560" y="2437"/>
                    <a:pt x="11560" y="3363"/>
                  </a:cubicBezTo>
                  <a:cubicBezTo>
                    <a:pt x="11560" y="4290"/>
                    <a:pt x="11220" y="5025"/>
                    <a:pt x="10807" y="5025"/>
                  </a:cubicBezTo>
                  <a:close/>
                </a:path>
              </a:pathLst>
            </a:custGeom>
            <a:solidFill>
              <a:schemeClr val="tx1">
                <a:lumMod val="50000"/>
                <a:lumOff val="50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grpSp>
      <p:sp>
        <p:nvSpPr>
          <p:cNvPr id="48" name="TextBox 19">
            <a:extLst>
              <a:ext uri="{FF2B5EF4-FFF2-40B4-BE49-F238E27FC236}">
                <a16:creationId xmlns:a16="http://schemas.microsoft.com/office/drawing/2014/main" id="{BED35C5D-DDA9-0893-4460-8E13F6D59F0C}"/>
              </a:ext>
            </a:extLst>
          </p:cNvPr>
          <p:cNvSpPr txBox="1"/>
          <p:nvPr/>
        </p:nvSpPr>
        <p:spPr>
          <a:xfrm>
            <a:off x="8917521" y="3328814"/>
            <a:ext cx="1738477" cy="1077218"/>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rgbClr val="0070C0"/>
                </a:solidFill>
              </a:rPr>
              <a:t>Seul(e)</a:t>
            </a:r>
          </a:p>
          <a:p>
            <a:r>
              <a:rPr lang="fr-FR" sz="1600" dirty="0">
                <a:solidFill>
                  <a:srgbClr val="0070C0"/>
                </a:solidFill>
              </a:rPr>
              <a:t>En famille</a:t>
            </a:r>
          </a:p>
          <a:p>
            <a:r>
              <a:rPr lang="fr-FR" sz="1600" dirty="0">
                <a:solidFill>
                  <a:srgbClr val="0070C0"/>
                </a:solidFill>
              </a:rPr>
              <a:t>Entre amis</a:t>
            </a:r>
          </a:p>
          <a:p>
            <a:r>
              <a:rPr lang="fr-FR" sz="1600" dirty="0">
                <a:solidFill>
                  <a:srgbClr val="0070C0"/>
                </a:solidFill>
              </a:rPr>
              <a:t>Groupe organisé</a:t>
            </a:r>
          </a:p>
        </p:txBody>
      </p:sp>
      <p:sp>
        <p:nvSpPr>
          <p:cNvPr id="49" name="TextBox 29">
            <a:extLst>
              <a:ext uri="{FF2B5EF4-FFF2-40B4-BE49-F238E27FC236}">
                <a16:creationId xmlns:a16="http://schemas.microsoft.com/office/drawing/2014/main" id="{38C0868B-E322-A005-6892-EAA60C6EDBD5}"/>
              </a:ext>
            </a:extLst>
          </p:cNvPr>
          <p:cNvSpPr txBox="1"/>
          <p:nvPr/>
        </p:nvSpPr>
        <p:spPr>
          <a:xfrm>
            <a:off x="8451149" y="2763867"/>
            <a:ext cx="2116298"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err="1">
                <a:solidFill>
                  <a:srgbClr val="0070C0"/>
                </a:solidFill>
              </a:rPr>
              <a:t>Comportementale</a:t>
            </a:r>
            <a:endParaRPr lang="en-US" b="1" dirty="0">
              <a:solidFill>
                <a:srgbClr val="0070C0"/>
              </a:solidFill>
            </a:endParaRPr>
          </a:p>
        </p:txBody>
      </p:sp>
      <p:pic>
        <p:nvPicPr>
          <p:cNvPr id="50" name="Graphic 30" descr="Bar graph with upward trend with solid fill">
            <a:extLst>
              <a:ext uri="{FF2B5EF4-FFF2-40B4-BE49-F238E27FC236}">
                <a16:creationId xmlns:a16="http://schemas.microsoft.com/office/drawing/2014/main" id="{718F9A4F-0A6D-192F-D003-77EFDE8D9EA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29276" y="4676781"/>
            <a:ext cx="719333" cy="719333"/>
          </a:xfrm>
          <a:prstGeom prst="rect">
            <a:avLst/>
          </a:prstGeom>
        </p:spPr>
      </p:pic>
      <p:sp>
        <p:nvSpPr>
          <p:cNvPr id="51" name="TextBox 22">
            <a:extLst>
              <a:ext uri="{FF2B5EF4-FFF2-40B4-BE49-F238E27FC236}">
                <a16:creationId xmlns:a16="http://schemas.microsoft.com/office/drawing/2014/main" id="{78CD72BF-EB03-9591-1F6C-007B9F84A9C0}"/>
              </a:ext>
            </a:extLst>
          </p:cNvPr>
          <p:cNvSpPr txBox="1"/>
          <p:nvPr/>
        </p:nvSpPr>
        <p:spPr>
          <a:xfrm>
            <a:off x="5190031" y="3466184"/>
            <a:ext cx="1958867" cy="1077218"/>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rgbClr val="0070C0"/>
                </a:solidFill>
              </a:rPr>
              <a:t>Moins de 18 ans</a:t>
            </a:r>
          </a:p>
          <a:p>
            <a:r>
              <a:rPr lang="fr-FR" sz="1600" dirty="0">
                <a:solidFill>
                  <a:srgbClr val="0070C0"/>
                </a:solidFill>
              </a:rPr>
              <a:t>18-24 ans</a:t>
            </a:r>
          </a:p>
          <a:p>
            <a:r>
              <a:rPr lang="fr-FR" sz="1600" dirty="0">
                <a:solidFill>
                  <a:srgbClr val="0070C0"/>
                </a:solidFill>
              </a:rPr>
              <a:t>25-55 ans</a:t>
            </a:r>
          </a:p>
          <a:p>
            <a:r>
              <a:rPr lang="fr-FR" sz="1600" dirty="0">
                <a:solidFill>
                  <a:srgbClr val="0070C0"/>
                </a:solidFill>
              </a:rPr>
              <a:t>55 ans et plus</a:t>
            </a:r>
          </a:p>
        </p:txBody>
      </p:sp>
      <p:sp>
        <p:nvSpPr>
          <p:cNvPr id="52" name="TextBox 28">
            <a:extLst>
              <a:ext uri="{FF2B5EF4-FFF2-40B4-BE49-F238E27FC236}">
                <a16:creationId xmlns:a16="http://schemas.microsoft.com/office/drawing/2014/main" id="{4915DEE6-C3DF-451C-17EB-5C6B3D2B294F}"/>
              </a:ext>
            </a:extLst>
          </p:cNvPr>
          <p:cNvSpPr txBox="1"/>
          <p:nvPr/>
        </p:nvSpPr>
        <p:spPr>
          <a:xfrm>
            <a:off x="5190031" y="2763867"/>
            <a:ext cx="1865767"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err="1">
                <a:solidFill>
                  <a:srgbClr val="0070C0"/>
                </a:solidFill>
              </a:rPr>
              <a:t>Démographique</a:t>
            </a:r>
            <a:endParaRPr lang="en-US" sz="2000" b="1" dirty="0">
              <a:solidFill>
                <a:srgbClr val="0070C0"/>
              </a:solidFill>
            </a:endParaRPr>
          </a:p>
        </p:txBody>
      </p:sp>
      <p:sp>
        <p:nvSpPr>
          <p:cNvPr id="54" name="TextBox 25">
            <a:extLst>
              <a:ext uri="{FF2B5EF4-FFF2-40B4-BE49-F238E27FC236}">
                <a16:creationId xmlns:a16="http://schemas.microsoft.com/office/drawing/2014/main" id="{7833BAC7-0D9C-5885-6C0D-1339B2984DD6}"/>
              </a:ext>
            </a:extLst>
          </p:cNvPr>
          <p:cNvSpPr txBox="1"/>
          <p:nvPr/>
        </p:nvSpPr>
        <p:spPr>
          <a:xfrm>
            <a:off x="1682447" y="3526372"/>
            <a:ext cx="2533186" cy="1354217"/>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rgbClr val="0070C0"/>
                </a:solidFill>
              </a:rPr>
              <a:t>Touristes nationaux</a:t>
            </a:r>
          </a:p>
          <a:p>
            <a:r>
              <a:rPr lang="fr-FR" sz="1600" dirty="0">
                <a:solidFill>
                  <a:srgbClr val="0070C0"/>
                </a:solidFill>
              </a:rPr>
              <a:t>Touristes internationaux</a:t>
            </a:r>
          </a:p>
          <a:p>
            <a:r>
              <a:rPr lang="fr-FR" sz="1600" dirty="0">
                <a:solidFill>
                  <a:srgbClr val="0070C0"/>
                </a:solidFill>
              </a:rPr>
              <a:t>Tunisiens résidant à l’étranger</a:t>
            </a:r>
          </a:p>
          <a:p>
            <a:endParaRPr lang="en-US" b="1" noProof="1">
              <a:solidFill>
                <a:srgbClr val="0070C0"/>
              </a:solidFill>
            </a:endParaRPr>
          </a:p>
        </p:txBody>
      </p:sp>
      <p:sp>
        <p:nvSpPr>
          <p:cNvPr id="56" name="TextBox 29">
            <a:extLst>
              <a:ext uri="{FF2B5EF4-FFF2-40B4-BE49-F238E27FC236}">
                <a16:creationId xmlns:a16="http://schemas.microsoft.com/office/drawing/2014/main" id="{FEEEE9E0-99EF-FA38-A1E8-A9D6C97DE451}"/>
              </a:ext>
            </a:extLst>
          </p:cNvPr>
          <p:cNvSpPr txBox="1"/>
          <p:nvPr/>
        </p:nvSpPr>
        <p:spPr>
          <a:xfrm>
            <a:off x="1652036" y="2852172"/>
            <a:ext cx="1662186"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err="1">
                <a:solidFill>
                  <a:srgbClr val="0070C0"/>
                </a:solidFill>
              </a:rPr>
              <a:t>Géographique</a:t>
            </a:r>
            <a:endParaRPr lang="en-US" sz="2000" b="1" dirty="0">
              <a:solidFill>
                <a:srgbClr val="0070C0"/>
              </a:solidFill>
            </a:endParaRPr>
          </a:p>
        </p:txBody>
      </p:sp>
      <p:pic>
        <p:nvPicPr>
          <p:cNvPr id="58" name="Image 57">
            <a:extLst>
              <a:ext uri="{FF2B5EF4-FFF2-40B4-BE49-F238E27FC236}">
                <a16:creationId xmlns:a16="http://schemas.microsoft.com/office/drawing/2014/main" id="{F861A9C3-0989-6C51-00FD-3BE8BB58CCC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16902" y="4836439"/>
            <a:ext cx="533196" cy="533196"/>
          </a:xfrm>
          <a:prstGeom prst="rect">
            <a:avLst/>
          </a:prstGeom>
        </p:spPr>
      </p:pic>
      <p:pic>
        <p:nvPicPr>
          <p:cNvPr id="60" name="Image 59">
            <a:extLst>
              <a:ext uri="{FF2B5EF4-FFF2-40B4-BE49-F238E27FC236}">
                <a16:creationId xmlns:a16="http://schemas.microsoft.com/office/drawing/2014/main" id="{9BA16230-9F48-1D79-79E7-6685B4AF295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314080" y="4763513"/>
            <a:ext cx="645500" cy="645500"/>
          </a:xfrm>
          <a:prstGeom prst="rect">
            <a:avLst/>
          </a:prstGeom>
        </p:spPr>
      </p:pic>
      <p:sp>
        <p:nvSpPr>
          <p:cNvPr id="3" name="Rectangle 2">
            <a:extLst>
              <a:ext uri="{FF2B5EF4-FFF2-40B4-BE49-F238E27FC236}">
                <a16:creationId xmlns:a16="http://schemas.microsoft.com/office/drawing/2014/main" id="{9BDBF2A2-E2FD-476C-B2B5-E174570CF003}"/>
              </a:ext>
            </a:extLst>
          </p:cNvPr>
          <p:cNvSpPr/>
          <p:nvPr/>
        </p:nvSpPr>
        <p:spPr>
          <a:xfrm>
            <a:off x="11494537" y="6234221"/>
            <a:ext cx="652743" cy="646331"/>
          </a:xfrm>
          <a:prstGeom prst="rect">
            <a:avLst/>
          </a:prstGeom>
        </p:spPr>
        <p:txBody>
          <a:bodyPr wrap="none">
            <a:spAutoFit/>
          </a:bodyPr>
          <a:lstStyle/>
          <a:p>
            <a:r>
              <a:rPr lang="en-US" sz="36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12</a:t>
            </a:r>
            <a:endParaRPr lang="fr-TN" sz="3600" dirty="0"/>
          </a:p>
        </p:txBody>
      </p:sp>
    </p:spTree>
    <p:extLst>
      <p:ext uri="{BB962C8B-B14F-4D97-AF65-F5344CB8AC3E}">
        <p14:creationId xmlns:p14="http://schemas.microsoft.com/office/powerpoint/2010/main" val="356402652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22F8B7-DA4C-2E6F-DB21-273B1223505A}"/>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D77A4A81-F169-D3EC-5B2A-2471D3FB9792}"/>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cxnSp>
        <p:nvCxnSpPr>
          <p:cNvPr id="10" name="Straight Connector 9">
            <a:extLst>
              <a:ext uri="{FF2B5EF4-FFF2-40B4-BE49-F238E27FC236}">
                <a16:creationId xmlns:a16="http://schemas.microsoft.com/office/drawing/2014/main" id="{D0B9E036-4CDD-4926-1375-98C2CB83F008}"/>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5" name="!!model">
            <a:extLst>
              <a:ext uri="{FF2B5EF4-FFF2-40B4-BE49-F238E27FC236}">
                <a16:creationId xmlns:a16="http://schemas.microsoft.com/office/drawing/2014/main" id="{F83AB57A-E806-53C9-D4D8-89F1636707EB}"/>
              </a:ext>
            </a:extLst>
          </p:cNvPr>
          <p:cNvGrpSpPr/>
          <p:nvPr/>
        </p:nvGrpSpPr>
        <p:grpSpPr>
          <a:xfrm>
            <a:off x="5842207" y="369986"/>
            <a:ext cx="507586" cy="507586"/>
            <a:chOff x="5832785" y="1868829"/>
            <a:chExt cx="507586" cy="507586"/>
          </a:xfrm>
        </p:grpSpPr>
        <p:sp>
          <p:nvSpPr>
            <p:cNvPr id="26" name="Oval 25">
              <a:extLst>
                <a:ext uri="{FF2B5EF4-FFF2-40B4-BE49-F238E27FC236}">
                  <a16:creationId xmlns:a16="http://schemas.microsoft.com/office/drawing/2014/main" id="{4DB95932-4194-9B9D-F17B-9699B714931A}"/>
                </a:ext>
              </a:extLst>
            </p:cNvPr>
            <p:cNvSpPr/>
            <p:nvPr/>
          </p:nvSpPr>
          <p:spPr>
            <a:xfrm>
              <a:off x="5832785" y="1868829"/>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7" name="Graphic 26">
              <a:extLst>
                <a:ext uri="{FF2B5EF4-FFF2-40B4-BE49-F238E27FC236}">
                  <a16:creationId xmlns:a16="http://schemas.microsoft.com/office/drawing/2014/main" id="{36AA04CA-CB52-B0DA-3030-2316FF1E490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60578" y="1996622"/>
              <a:ext cx="252000" cy="252000"/>
            </a:xfrm>
            <a:prstGeom prst="rect">
              <a:avLst/>
            </a:prstGeom>
          </p:spPr>
        </p:pic>
      </p:grpSp>
      <p:sp>
        <p:nvSpPr>
          <p:cNvPr id="21" name="TextBox 20">
            <a:extLst>
              <a:ext uri="{FF2B5EF4-FFF2-40B4-BE49-F238E27FC236}">
                <a16:creationId xmlns:a16="http://schemas.microsoft.com/office/drawing/2014/main" id="{24CDEE9C-9065-37C6-3935-7E4C41099BDC}"/>
              </a:ext>
            </a:extLst>
          </p:cNvPr>
          <p:cNvSpPr txBox="1"/>
          <p:nvPr/>
        </p:nvSpPr>
        <p:spPr>
          <a:xfrm>
            <a:off x="234546" y="1056986"/>
            <a:ext cx="5328053" cy="587212"/>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800" dirty="0"/>
              <a:t>Ciblage</a:t>
            </a:r>
            <a:endParaRPr lang="en-GB" sz="4800" dirty="0"/>
          </a:p>
        </p:txBody>
      </p:sp>
      <p:sp>
        <p:nvSpPr>
          <p:cNvPr id="4" name="TextBox 1">
            <a:extLst>
              <a:ext uri="{FF2B5EF4-FFF2-40B4-BE49-F238E27FC236}">
                <a16:creationId xmlns:a16="http://schemas.microsoft.com/office/drawing/2014/main" id="{3C425F63-74C8-AD2B-B0DC-D58F0024BE6D}"/>
              </a:ext>
            </a:extLst>
          </p:cNvPr>
          <p:cNvSpPr txBox="1"/>
          <p:nvPr/>
        </p:nvSpPr>
        <p:spPr>
          <a:xfrm>
            <a:off x="908648" y="407551"/>
            <a:ext cx="1239122"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Commerciale</a:t>
            </a:r>
          </a:p>
        </p:txBody>
      </p:sp>
      <p:grpSp>
        <p:nvGrpSpPr>
          <p:cNvPr id="20" name="Group 22">
            <a:extLst>
              <a:ext uri="{FF2B5EF4-FFF2-40B4-BE49-F238E27FC236}">
                <a16:creationId xmlns:a16="http://schemas.microsoft.com/office/drawing/2014/main" id="{FAC95E33-BFDF-F379-0484-631F9537F598}"/>
              </a:ext>
            </a:extLst>
          </p:cNvPr>
          <p:cNvGrpSpPr/>
          <p:nvPr/>
        </p:nvGrpSpPr>
        <p:grpSpPr>
          <a:xfrm>
            <a:off x="4031694" y="1723608"/>
            <a:ext cx="4636613" cy="4636613"/>
            <a:chOff x="3777694" y="1110693"/>
            <a:chExt cx="4636613" cy="4636613"/>
          </a:xfrm>
        </p:grpSpPr>
        <p:sp>
          <p:nvSpPr>
            <p:cNvPr id="30" name="Oval 2">
              <a:extLst>
                <a:ext uri="{FF2B5EF4-FFF2-40B4-BE49-F238E27FC236}">
                  <a16:creationId xmlns:a16="http://schemas.microsoft.com/office/drawing/2014/main" id="{EE3AD980-B4A7-C7FC-60A9-F8DC9B821B6F}"/>
                </a:ext>
              </a:extLst>
            </p:cNvPr>
            <p:cNvSpPr/>
            <p:nvPr/>
          </p:nvSpPr>
          <p:spPr>
            <a:xfrm>
              <a:off x="5273040" y="1110693"/>
              <a:ext cx="1645920" cy="1645920"/>
            </a:xfrm>
            <a:prstGeom prst="ellipse">
              <a:avLst/>
            </a:prstGeom>
            <a:solidFill>
              <a:schemeClr val="bg2">
                <a:lumMod val="90000"/>
              </a:schemeClr>
            </a:solidFill>
            <a:ln w="12700">
              <a:miter lim="400000"/>
            </a:ln>
          </p:spPr>
          <p:txBody>
            <a:bodyPr wrap="square" lIns="38100" tIns="38100" rIns="38100" bIns="38100" anchor="ctr">
              <a:noAutofit/>
            </a:bodyPr>
            <a:lstStyle/>
            <a:p>
              <a:pPr>
                <a:defRPr sz="3000">
                  <a:solidFill>
                    <a:srgbClr val="FFFFFF"/>
                  </a:solidFill>
                </a:defRPr>
              </a:pPr>
              <a:endParaRPr/>
            </a:p>
          </p:txBody>
        </p:sp>
        <p:sp>
          <p:nvSpPr>
            <p:cNvPr id="31" name="Oval 3">
              <a:extLst>
                <a:ext uri="{FF2B5EF4-FFF2-40B4-BE49-F238E27FC236}">
                  <a16:creationId xmlns:a16="http://schemas.microsoft.com/office/drawing/2014/main" id="{50FFD27C-5829-8137-26B8-D14449D680F9}"/>
                </a:ext>
              </a:extLst>
            </p:cNvPr>
            <p:cNvSpPr/>
            <p:nvPr/>
          </p:nvSpPr>
          <p:spPr>
            <a:xfrm>
              <a:off x="5273040" y="4101386"/>
              <a:ext cx="1645920" cy="1645920"/>
            </a:xfrm>
            <a:prstGeom prst="ellipse">
              <a:avLst/>
            </a:prstGeom>
            <a:solidFill>
              <a:schemeClr val="bg2">
                <a:lumMod val="90000"/>
              </a:schemeClr>
            </a:solidFill>
            <a:ln w="12700">
              <a:miter lim="400000"/>
            </a:ln>
          </p:spPr>
          <p:txBody>
            <a:bodyPr wrap="square" lIns="38100" tIns="38100" rIns="38100" bIns="38100" anchor="ctr">
              <a:noAutofit/>
            </a:bodyPr>
            <a:lstStyle/>
            <a:p>
              <a:pPr>
                <a:defRPr sz="3000">
                  <a:solidFill>
                    <a:srgbClr val="FFFFFF"/>
                  </a:solidFill>
                </a:defRPr>
              </a:pPr>
              <a:endParaRPr/>
            </a:p>
          </p:txBody>
        </p:sp>
        <p:sp>
          <p:nvSpPr>
            <p:cNvPr id="32" name="Oval 4">
              <a:extLst>
                <a:ext uri="{FF2B5EF4-FFF2-40B4-BE49-F238E27FC236}">
                  <a16:creationId xmlns:a16="http://schemas.microsoft.com/office/drawing/2014/main" id="{0D165385-B4E3-278F-8EFC-DFB1F696FDD1}"/>
                </a:ext>
              </a:extLst>
            </p:cNvPr>
            <p:cNvSpPr/>
            <p:nvPr/>
          </p:nvSpPr>
          <p:spPr>
            <a:xfrm>
              <a:off x="3777694" y="2606039"/>
              <a:ext cx="1645920" cy="1645920"/>
            </a:xfrm>
            <a:prstGeom prst="ellipse">
              <a:avLst/>
            </a:prstGeom>
            <a:solidFill>
              <a:schemeClr val="bg2">
                <a:lumMod val="90000"/>
              </a:schemeClr>
            </a:solidFill>
            <a:ln w="12700">
              <a:miter lim="400000"/>
            </a:ln>
          </p:spPr>
          <p:txBody>
            <a:bodyPr wrap="square" lIns="38100" tIns="38100" rIns="38100" bIns="38100" anchor="ctr">
              <a:noAutofit/>
            </a:bodyPr>
            <a:lstStyle/>
            <a:p>
              <a:pPr>
                <a:defRPr sz="3000">
                  <a:solidFill>
                    <a:srgbClr val="FFFFFF"/>
                  </a:solidFill>
                </a:defRPr>
              </a:pPr>
              <a:endParaRPr/>
            </a:p>
          </p:txBody>
        </p:sp>
        <p:sp>
          <p:nvSpPr>
            <p:cNvPr id="34" name="Oval 5">
              <a:extLst>
                <a:ext uri="{FF2B5EF4-FFF2-40B4-BE49-F238E27FC236}">
                  <a16:creationId xmlns:a16="http://schemas.microsoft.com/office/drawing/2014/main" id="{BF124199-7327-EA31-6AEC-DA901EE74232}"/>
                </a:ext>
              </a:extLst>
            </p:cNvPr>
            <p:cNvSpPr/>
            <p:nvPr/>
          </p:nvSpPr>
          <p:spPr>
            <a:xfrm>
              <a:off x="6768387" y="2606039"/>
              <a:ext cx="1645920" cy="1645920"/>
            </a:xfrm>
            <a:prstGeom prst="ellipse">
              <a:avLst/>
            </a:prstGeom>
            <a:solidFill>
              <a:schemeClr val="bg2">
                <a:lumMod val="90000"/>
              </a:schemeClr>
            </a:solidFill>
            <a:ln w="12700">
              <a:miter lim="400000"/>
            </a:ln>
          </p:spPr>
          <p:txBody>
            <a:bodyPr wrap="square" lIns="38100" tIns="38100" rIns="38100" bIns="38100" anchor="ctr">
              <a:noAutofit/>
            </a:bodyPr>
            <a:lstStyle/>
            <a:p>
              <a:pPr>
                <a:defRPr sz="3000">
                  <a:solidFill>
                    <a:srgbClr val="FFFFFF"/>
                  </a:solidFill>
                </a:defRPr>
              </a:pPr>
              <a:endParaRPr/>
            </a:p>
          </p:txBody>
        </p:sp>
        <p:sp>
          <p:nvSpPr>
            <p:cNvPr id="35" name="Freeform: Shape 6">
              <a:extLst>
                <a:ext uri="{FF2B5EF4-FFF2-40B4-BE49-F238E27FC236}">
                  <a16:creationId xmlns:a16="http://schemas.microsoft.com/office/drawing/2014/main" id="{D3492C4A-188F-4BCB-C312-E04440A813A9}"/>
                </a:ext>
              </a:extLst>
            </p:cNvPr>
            <p:cNvSpPr/>
            <p:nvPr/>
          </p:nvSpPr>
          <p:spPr>
            <a:xfrm>
              <a:off x="5289773" y="4101386"/>
              <a:ext cx="1612457" cy="884006"/>
            </a:xfrm>
            <a:custGeom>
              <a:avLst/>
              <a:gdLst>
                <a:gd name="connsiteX0" fmla="*/ 806228 w 1612457"/>
                <a:gd name="connsiteY0" fmla="*/ 0 h 884006"/>
                <a:gd name="connsiteX1" fmla="*/ 1592190 w 1612457"/>
                <a:gd name="connsiteY1" fmla="*/ 578237 h 884006"/>
                <a:gd name="connsiteX2" fmla="*/ 1612457 w 1612457"/>
                <a:gd name="connsiteY2" fmla="*/ 657059 h 884006"/>
                <a:gd name="connsiteX3" fmla="*/ 1548097 w 1612457"/>
                <a:gd name="connsiteY3" fmla="*/ 696158 h 884006"/>
                <a:gd name="connsiteX4" fmla="*/ 806228 w 1612457"/>
                <a:gd name="connsiteY4" fmla="*/ 884006 h 884006"/>
                <a:gd name="connsiteX5" fmla="*/ 64359 w 1612457"/>
                <a:gd name="connsiteY5" fmla="*/ 696158 h 884006"/>
                <a:gd name="connsiteX6" fmla="*/ 0 w 1612457"/>
                <a:gd name="connsiteY6" fmla="*/ 657059 h 884006"/>
                <a:gd name="connsiteX7" fmla="*/ 20267 w 1612457"/>
                <a:gd name="connsiteY7" fmla="*/ 578237 h 884006"/>
                <a:gd name="connsiteX8" fmla="*/ 806228 w 1612457"/>
                <a:gd name="connsiteY8" fmla="*/ 0 h 88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2457" h="884006">
                  <a:moveTo>
                    <a:pt x="806228" y="0"/>
                  </a:moveTo>
                  <a:cubicBezTo>
                    <a:pt x="1175516" y="0"/>
                    <a:pt x="1487993" y="243236"/>
                    <a:pt x="1592190" y="578237"/>
                  </a:cubicBezTo>
                  <a:lnTo>
                    <a:pt x="1612457" y="657059"/>
                  </a:lnTo>
                  <a:lnTo>
                    <a:pt x="1548097" y="696158"/>
                  </a:lnTo>
                  <a:cubicBezTo>
                    <a:pt x="1327567" y="815957"/>
                    <a:pt x="1074845" y="884006"/>
                    <a:pt x="806228" y="884006"/>
                  </a:cubicBezTo>
                  <a:cubicBezTo>
                    <a:pt x="537612" y="884006"/>
                    <a:pt x="284890" y="815957"/>
                    <a:pt x="64359" y="696158"/>
                  </a:cubicBezTo>
                  <a:lnTo>
                    <a:pt x="0" y="657059"/>
                  </a:lnTo>
                  <a:lnTo>
                    <a:pt x="20267" y="578237"/>
                  </a:lnTo>
                  <a:cubicBezTo>
                    <a:pt x="124463" y="243236"/>
                    <a:pt x="436941" y="0"/>
                    <a:pt x="806228" y="0"/>
                  </a:cubicBezTo>
                  <a:close/>
                </a:path>
              </a:pathLst>
            </a:custGeom>
            <a:solidFill>
              <a:schemeClr val="accent1"/>
            </a:solidFill>
            <a:ln w="12700">
              <a:miter lim="400000"/>
            </a:ln>
          </p:spPr>
          <p:txBody>
            <a:bodyPr wrap="square" lIns="38100" tIns="38100" rIns="38100" bIns="38100" anchor="ctr">
              <a:noAutofit/>
            </a:bodyPr>
            <a:lstStyle/>
            <a:p>
              <a:pPr algn="ctr"/>
              <a:r>
                <a:rPr lang="en-US" sz="3000" b="1" dirty="0">
                  <a:solidFill>
                    <a:srgbClr val="FFFFFF"/>
                  </a:solidFill>
                </a:rPr>
                <a:t>03</a:t>
              </a:r>
            </a:p>
          </p:txBody>
        </p:sp>
        <p:sp>
          <p:nvSpPr>
            <p:cNvPr id="36" name="Freeform: Shape 7">
              <a:extLst>
                <a:ext uri="{FF2B5EF4-FFF2-40B4-BE49-F238E27FC236}">
                  <a16:creationId xmlns:a16="http://schemas.microsoft.com/office/drawing/2014/main" id="{171CC9CA-3913-D582-5C8B-866DAAE2F2BA}"/>
                </a:ext>
              </a:extLst>
            </p:cNvPr>
            <p:cNvSpPr/>
            <p:nvPr/>
          </p:nvSpPr>
          <p:spPr>
            <a:xfrm>
              <a:off x="4539608" y="2622772"/>
              <a:ext cx="884006" cy="1612457"/>
            </a:xfrm>
            <a:custGeom>
              <a:avLst/>
              <a:gdLst>
                <a:gd name="connsiteX0" fmla="*/ 226948 w 884006"/>
                <a:gd name="connsiteY0" fmla="*/ 0 h 1612457"/>
                <a:gd name="connsiteX1" fmla="*/ 305769 w 884006"/>
                <a:gd name="connsiteY1" fmla="*/ 20267 h 1612457"/>
                <a:gd name="connsiteX2" fmla="*/ 884006 w 884006"/>
                <a:gd name="connsiteY2" fmla="*/ 806228 h 1612457"/>
                <a:gd name="connsiteX3" fmla="*/ 305769 w 884006"/>
                <a:gd name="connsiteY3" fmla="*/ 1592190 h 1612457"/>
                <a:gd name="connsiteX4" fmla="*/ 226947 w 884006"/>
                <a:gd name="connsiteY4" fmla="*/ 1612457 h 1612457"/>
                <a:gd name="connsiteX5" fmla="*/ 187848 w 884006"/>
                <a:gd name="connsiteY5" fmla="*/ 1548098 h 1612457"/>
                <a:gd name="connsiteX6" fmla="*/ 0 w 884006"/>
                <a:gd name="connsiteY6" fmla="*/ 806229 h 1612457"/>
                <a:gd name="connsiteX7" fmla="*/ 187848 w 884006"/>
                <a:gd name="connsiteY7" fmla="*/ 64360 h 1612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4006" h="1612457">
                  <a:moveTo>
                    <a:pt x="226948" y="0"/>
                  </a:moveTo>
                  <a:lnTo>
                    <a:pt x="305769" y="20267"/>
                  </a:lnTo>
                  <a:cubicBezTo>
                    <a:pt x="640770" y="124463"/>
                    <a:pt x="884006" y="436940"/>
                    <a:pt x="884006" y="806228"/>
                  </a:cubicBezTo>
                  <a:cubicBezTo>
                    <a:pt x="884006" y="1175516"/>
                    <a:pt x="640770" y="1487993"/>
                    <a:pt x="305769" y="1592190"/>
                  </a:cubicBezTo>
                  <a:lnTo>
                    <a:pt x="226947" y="1612457"/>
                  </a:lnTo>
                  <a:lnTo>
                    <a:pt x="187848" y="1548098"/>
                  </a:lnTo>
                  <a:cubicBezTo>
                    <a:pt x="68049" y="1327568"/>
                    <a:pt x="0" y="1074845"/>
                    <a:pt x="0" y="806229"/>
                  </a:cubicBezTo>
                  <a:cubicBezTo>
                    <a:pt x="0" y="537613"/>
                    <a:pt x="68049" y="284890"/>
                    <a:pt x="187848" y="64360"/>
                  </a:cubicBezTo>
                  <a:close/>
                </a:path>
              </a:pathLst>
            </a:custGeom>
            <a:solidFill>
              <a:schemeClr val="accent5"/>
            </a:solidFill>
            <a:ln w="12700">
              <a:miter lim="400000"/>
            </a:ln>
          </p:spPr>
          <p:txBody>
            <a:bodyPr wrap="square" lIns="38100" tIns="38100" rIns="38100" bIns="38100" anchor="ctr">
              <a:noAutofit/>
            </a:bodyPr>
            <a:lstStyle/>
            <a:p>
              <a:pPr algn="ctr"/>
              <a:r>
                <a:rPr lang="en-US" sz="3000" b="1" dirty="0">
                  <a:solidFill>
                    <a:schemeClr val="tx1">
                      <a:lumMod val="85000"/>
                      <a:lumOff val="15000"/>
                    </a:schemeClr>
                  </a:solidFill>
                </a:rPr>
                <a:t>04</a:t>
              </a:r>
            </a:p>
          </p:txBody>
        </p:sp>
        <p:sp>
          <p:nvSpPr>
            <p:cNvPr id="37" name="Freeform: Shape 8">
              <a:extLst>
                <a:ext uri="{FF2B5EF4-FFF2-40B4-BE49-F238E27FC236}">
                  <a16:creationId xmlns:a16="http://schemas.microsoft.com/office/drawing/2014/main" id="{779D3E88-449D-D32C-4D16-C1520FFCC6C9}"/>
                </a:ext>
              </a:extLst>
            </p:cNvPr>
            <p:cNvSpPr/>
            <p:nvPr/>
          </p:nvSpPr>
          <p:spPr>
            <a:xfrm>
              <a:off x="5289773" y="1872609"/>
              <a:ext cx="1612457" cy="884005"/>
            </a:xfrm>
            <a:custGeom>
              <a:avLst/>
              <a:gdLst>
                <a:gd name="connsiteX0" fmla="*/ 806228 w 1612457"/>
                <a:gd name="connsiteY0" fmla="*/ 0 h 884005"/>
                <a:gd name="connsiteX1" fmla="*/ 1548097 w 1612457"/>
                <a:gd name="connsiteY1" fmla="*/ 187848 h 884005"/>
                <a:gd name="connsiteX2" fmla="*/ 1612457 w 1612457"/>
                <a:gd name="connsiteY2" fmla="*/ 226947 h 884005"/>
                <a:gd name="connsiteX3" fmla="*/ 1592190 w 1612457"/>
                <a:gd name="connsiteY3" fmla="*/ 305768 h 884005"/>
                <a:gd name="connsiteX4" fmla="*/ 806228 w 1612457"/>
                <a:gd name="connsiteY4" fmla="*/ 884005 h 884005"/>
                <a:gd name="connsiteX5" fmla="*/ 20267 w 1612457"/>
                <a:gd name="connsiteY5" fmla="*/ 305768 h 884005"/>
                <a:gd name="connsiteX6" fmla="*/ 0 w 1612457"/>
                <a:gd name="connsiteY6" fmla="*/ 226947 h 884005"/>
                <a:gd name="connsiteX7" fmla="*/ 64359 w 1612457"/>
                <a:gd name="connsiteY7" fmla="*/ 187848 h 884005"/>
                <a:gd name="connsiteX8" fmla="*/ 806228 w 1612457"/>
                <a:gd name="connsiteY8" fmla="*/ 0 h 884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2457" h="884005">
                  <a:moveTo>
                    <a:pt x="806228" y="0"/>
                  </a:moveTo>
                  <a:cubicBezTo>
                    <a:pt x="1074845" y="0"/>
                    <a:pt x="1327567" y="68049"/>
                    <a:pt x="1548097" y="187848"/>
                  </a:cubicBezTo>
                  <a:lnTo>
                    <a:pt x="1612457" y="226947"/>
                  </a:lnTo>
                  <a:lnTo>
                    <a:pt x="1592190" y="305768"/>
                  </a:lnTo>
                  <a:cubicBezTo>
                    <a:pt x="1487993" y="640769"/>
                    <a:pt x="1175516" y="884005"/>
                    <a:pt x="806228" y="884005"/>
                  </a:cubicBezTo>
                  <a:cubicBezTo>
                    <a:pt x="436941" y="884005"/>
                    <a:pt x="124463" y="640769"/>
                    <a:pt x="20267" y="305768"/>
                  </a:cubicBezTo>
                  <a:lnTo>
                    <a:pt x="0" y="226947"/>
                  </a:lnTo>
                  <a:lnTo>
                    <a:pt x="64359" y="187848"/>
                  </a:lnTo>
                  <a:cubicBezTo>
                    <a:pt x="284890" y="68049"/>
                    <a:pt x="537612" y="0"/>
                    <a:pt x="806228" y="0"/>
                  </a:cubicBezTo>
                  <a:close/>
                </a:path>
              </a:pathLst>
            </a:custGeom>
            <a:solidFill>
              <a:schemeClr val="accent4"/>
            </a:solidFill>
            <a:ln w="12700">
              <a:miter lim="400000"/>
            </a:ln>
          </p:spPr>
          <p:txBody>
            <a:bodyPr wrap="square" lIns="38100" tIns="38100" rIns="38100" bIns="38100" anchor="ctr">
              <a:noAutofit/>
            </a:bodyPr>
            <a:lstStyle/>
            <a:p>
              <a:pPr algn="ctr"/>
              <a:r>
                <a:rPr lang="en-US" sz="3000" b="1" dirty="0">
                  <a:solidFill>
                    <a:srgbClr val="FFFFFF"/>
                  </a:solidFill>
                </a:rPr>
                <a:t>01</a:t>
              </a:r>
            </a:p>
          </p:txBody>
        </p:sp>
        <p:sp>
          <p:nvSpPr>
            <p:cNvPr id="38" name="Freeform: Shape 9">
              <a:extLst>
                <a:ext uri="{FF2B5EF4-FFF2-40B4-BE49-F238E27FC236}">
                  <a16:creationId xmlns:a16="http://schemas.microsoft.com/office/drawing/2014/main" id="{DEDF75F6-4A72-357F-DD69-D84F07130882}"/>
                </a:ext>
              </a:extLst>
            </p:cNvPr>
            <p:cNvSpPr/>
            <p:nvPr/>
          </p:nvSpPr>
          <p:spPr>
            <a:xfrm>
              <a:off x="6768388" y="2622772"/>
              <a:ext cx="884005" cy="1612457"/>
            </a:xfrm>
            <a:custGeom>
              <a:avLst/>
              <a:gdLst>
                <a:gd name="connsiteX0" fmla="*/ 657058 w 884005"/>
                <a:gd name="connsiteY0" fmla="*/ 0 h 1612457"/>
                <a:gd name="connsiteX1" fmla="*/ 696157 w 884005"/>
                <a:gd name="connsiteY1" fmla="*/ 64360 h 1612457"/>
                <a:gd name="connsiteX2" fmla="*/ 884005 w 884005"/>
                <a:gd name="connsiteY2" fmla="*/ 806229 h 1612457"/>
                <a:gd name="connsiteX3" fmla="*/ 696157 w 884005"/>
                <a:gd name="connsiteY3" fmla="*/ 1548098 h 1612457"/>
                <a:gd name="connsiteX4" fmla="*/ 657059 w 884005"/>
                <a:gd name="connsiteY4" fmla="*/ 1612457 h 1612457"/>
                <a:gd name="connsiteX5" fmla="*/ 578237 w 884005"/>
                <a:gd name="connsiteY5" fmla="*/ 1592190 h 1612457"/>
                <a:gd name="connsiteX6" fmla="*/ 0 w 884005"/>
                <a:gd name="connsiteY6" fmla="*/ 806228 h 1612457"/>
                <a:gd name="connsiteX7" fmla="*/ 578237 w 884005"/>
                <a:gd name="connsiteY7" fmla="*/ 20267 h 1612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4005" h="1612457">
                  <a:moveTo>
                    <a:pt x="657058" y="0"/>
                  </a:moveTo>
                  <a:lnTo>
                    <a:pt x="696157" y="64360"/>
                  </a:lnTo>
                  <a:cubicBezTo>
                    <a:pt x="815956" y="284890"/>
                    <a:pt x="884005" y="537613"/>
                    <a:pt x="884005" y="806229"/>
                  </a:cubicBezTo>
                  <a:cubicBezTo>
                    <a:pt x="884005" y="1074845"/>
                    <a:pt x="815956" y="1327568"/>
                    <a:pt x="696157" y="1548098"/>
                  </a:cubicBezTo>
                  <a:lnTo>
                    <a:pt x="657059" y="1612457"/>
                  </a:lnTo>
                  <a:lnTo>
                    <a:pt x="578237" y="1592190"/>
                  </a:lnTo>
                  <a:cubicBezTo>
                    <a:pt x="243236" y="1487993"/>
                    <a:pt x="0" y="1175516"/>
                    <a:pt x="0" y="806228"/>
                  </a:cubicBezTo>
                  <a:cubicBezTo>
                    <a:pt x="0" y="436940"/>
                    <a:pt x="243236" y="124463"/>
                    <a:pt x="578237" y="20267"/>
                  </a:cubicBezTo>
                  <a:close/>
                </a:path>
              </a:pathLst>
            </a:custGeom>
            <a:solidFill>
              <a:schemeClr val="accent2"/>
            </a:solidFill>
            <a:ln w="12700">
              <a:miter lim="400000"/>
            </a:ln>
          </p:spPr>
          <p:txBody>
            <a:bodyPr wrap="square" lIns="38100" tIns="38100" rIns="38100" bIns="38100" anchor="ctr">
              <a:noAutofit/>
            </a:bodyPr>
            <a:lstStyle/>
            <a:p>
              <a:pPr algn="ctr"/>
              <a:r>
                <a:rPr lang="en-US" sz="3000" b="1" dirty="0">
                  <a:solidFill>
                    <a:schemeClr val="tx1">
                      <a:lumMod val="85000"/>
                      <a:lumOff val="15000"/>
                    </a:schemeClr>
                  </a:solidFill>
                </a:rPr>
                <a:t>02</a:t>
              </a:r>
            </a:p>
          </p:txBody>
        </p:sp>
      </p:grpSp>
      <p:grpSp>
        <p:nvGrpSpPr>
          <p:cNvPr id="39" name="Group 10">
            <a:extLst>
              <a:ext uri="{FF2B5EF4-FFF2-40B4-BE49-F238E27FC236}">
                <a16:creationId xmlns:a16="http://schemas.microsoft.com/office/drawing/2014/main" id="{DA2F0893-F768-FDFE-6D71-AA423D8D6F64}"/>
              </a:ext>
            </a:extLst>
          </p:cNvPr>
          <p:cNvGrpSpPr/>
          <p:nvPr/>
        </p:nvGrpSpPr>
        <p:grpSpPr>
          <a:xfrm>
            <a:off x="7493904" y="1798380"/>
            <a:ext cx="3604180" cy="1105487"/>
            <a:chOff x="8582316" y="2577912"/>
            <a:chExt cx="3604180" cy="1105487"/>
          </a:xfrm>
        </p:grpSpPr>
        <p:sp>
          <p:nvSpPr>
            <p:cNvPr id="40" name="TextBox 11">
              <a:extLst>
                <a:ext uri="{FF2B5EF4-FFF2-40B4-BE49-F238E27FC236}">
                  <a16:creationId xmlns:a16="http://schemas.microsoft.com/office/drawing/2014/main" id="{FD4DCA59-F80D-6D0D-343E-F24C484BED05}"/>
                </a:ext>
              </a:extLst>
            </p:cNvPr>
            <p:cNvSpPr txBox="1"/>
            <p:nvPr/>
          </p:nvSpPr>
          <p:spPr>
            <a:xfrm>
              <a:off x="8582316" y="2577912"/>
              <a:ext cx="3604180" cy="830997"/>
            </a:xfrm>
            <a:prstGeom prst="rect">
              <a:avLst/>
            </a:prstGeom>
            <a:noFill/>
          </p:spPr>
          <p:txBody>
            <a:bodyPr wrap="square" lIns="0" rIns="0" rtlCol="0" anchor="b">
              <a:spAutoFit/>
            </a:bodyPr>
            <a:lstStyle/>
            <a:p>
              <a:r>
                <a:rPr lang="fr-FR" sz="2400" b="1" noProof="1">
                  <a:solidFill>
                    <a:schemeClr val="accent4">
                      <a:lumMod val="75000"/>
                    </a:schemeClr>
                  </a:solidFill>
                </a:rPr>
                <a:t>Tunisiens résidant à l'étranger (TRE)</a:t>
              </a:r>
              <a:endParaRPr lang="en-US" sz="2400" b="1" noProof="1">
                <a:solidFill>
                  <a:schemeClr val="accent4">
                    <a:lumMod val="75000"/>
                  </a:schemeClr>
                </a:solidFill>
              </a:endParaRPr>
            </a:p>
          </p:txBody>
        </p:sp>
        <p:sp>
          <p:nvSpPr>
            <p:cNvPr id="41" name="TextBox 12">
              <a:extLst>
                <a:ext uri="{FF2B5EF4-FFF2-40B4-BE49-F238E27FC236}">
                  <a16:creationId xmlns:a16="http://schemas.microsoft.com/office/drawing/2014/main" id="{2D25D80F-EDD2-681A-B299-4B50D9E24370}"/>
                </a:ext>
              </a:extLst>
            </p:cNvPr>
            <p:cNvSpPr txBox="1"/>
            <p:nvPr/>
          </p:nvSpPr>
          <p:spPr>
            <a:xfrm>
              <a:off x="8921977" y="3406400"/>
              <a:ext cx="2926080" cy="276999"/>
            </a:xfrm>
            <a:prstGeom prst="rect">
              <a:avLst/>
            </a:prstGeom>
            <a:noFill/>
          </p:spPr>
          <p:txBody>
            <a:bodyPr wrap="square" lIns="0" rIns="0" rtlCol="0" anchor="t">
              <a:spAutoFit/>
            </a:bodyPr>
            <a:lstStyle/>
            <a:p>
              <a:pPr algn="just"/>
              <a:endParaRPr lang="en-US" sz="1200" noProof="1">
                <a:solidFill>
                  <a:schemeClr val="tx1">
                    <a:lumMod val="65000"/>
                    <a:lumOff val="35000"/>
                  </a:schemeClr>
                </a:solidFill>
              </a:endParaRPr>
            </a:p>
          </p:txBody>
        </p:sp>
      </p:grpSp>
      <p:grpSp>
        <p:nvGrpSpPr>
          <p:cNvPr id="42" name="Group 13">
            <a:extLst>
              <a:ext uri="{FF2B5EF4-FFF2-40B4-BE49-F238E27FC236}">
                <a16:creationId xmlns:a16="http://schemas.microsoft.com/office/drawing/2014/main" id="{426D36B7-F1C8-F3C2-021B-327E1DB94C04}"/>
              </a:ext>
            </a:extLst>
          </p:cNvPr>
          <p:cNvGrpSpPr/>
          <p:nvPr/>
        </p:nvGrpSpPr>
        <p:grpSpPr>
          <a:xfrm>
            <a:off x="8841820" y="3508444"/>
            <a:ext cx="3265741" cy="1569103"/>
            <a:chOff x="8582316" y="3913674"/>
            <a:chExt cx="3265741" cy="1569103"/>
          </a:xfrm>
        </p:grpSpPr>
        <p:sp>
          <p:nvSpPr>
            <p:cNvPr id="43" name="TextBox 14">
              <a:extLst>
                <a:ext uri="{FF2B5EF4-FFF2-40B4-BE49-F238E27FC236}">
                  <a16:creationId xmlns:a16="http://schemas.microsoft.com/office/drawing/2014/main" id="{DF370474-19C0-016B-F421-D23F23FDDDA8}"/>
                </a:ext>
              </a:extLst>
            </p:cNvPr>
            <p:cNvSpPr txBox="1"/>
            <p:nvPr/>
          </p:nvSpPr>
          <p:spPr>
            <a:xfrm>
              <a:off x="8582316" y="3913674"/>
              <a:ext cx="3265741" cy="1200329"/>
            </a:xfrm>
            <a:prstGeom prst="rect">
              <a:avLst/>
            </a:prstGeom>
            <a:noFill/>
          </p:spPr>
          <p:txBody>
            <a:bodyPr wrap="square" lIns="0" rIns="0" rtlCol="0" anchor="b">
              <a:spAutoFit/>
            </a:bodyPr>
            <a:lstStyle/>
            <a:p>
              <a:r>
                <a:rPr lang="en-US" sz="2400" b="1" noProof="1">
                  <a:solidFill>
                    <a:schemeClr val="accent2">
                      <a:lumMod val="75000"/>
                    </a:schemeClr>
                  </a:solidFill>
                </a:rPr>
                <a:t>Prestataire de cabine </a:t>
              </a:r>
            </a:p>
            <a:p>
              <a:r>
                <a:rPr lang="en-US" sz="2400" b="1" noProof="1">
                  <a:solidFill>
                    <a:schemeClr val="accent2">
                      <a:lumMod val="75000"/>
                    </a:schemeClr>
                  </a:solidFill>
                </a:rPr>
                <a:t>Prestataire d</a:t>
              </a:r>
              <a:r>
                <a:rPr lang="fr-FR" sz="2400" b="1" noProof="1">
                  <a:solidFill>
                    <a:schemeClr val="accent2">
                      <a:lumMod val="75000"/>
                    </a:schemeClr>
                  </a:solidFill>
                </a:rPr>
                <a:t>’</a:t>
              </a:r>
              <a:r>
                <a:rPr lang="en-US" sz="2400" b="1" noProof="1">
                  <a:solidFill>
                    <a:schemeClr val="accent2">
                      <a:lumMod val="75000"/>
                    </a:schemeClr>
                  </a:solidFill>
                </a:rPr>
                <a:t>activité nautique</a:t>
              </a:r>
            </a:p>
          </p:txBody>
        </p:sp>
        <p:sp>
          <p:nvSpPr>
            <p:cNvPr id="44" name="TextBox 15">
              <a:extLst>
                <a:ext uri="{FF2B5EF4-FFF2-40B4-BE49-F238E27FC236}">
                  <a16:creationId xmlns:a16="http://schemas.microsoft.com/office/drawing/2014/main" id="{E2ECCC45-1977-C171-61AE-9AC95F4B4A1D}"/>
                </a:ext>
              </a:extLst>
            </p:cNvPr>
            <p:cNvSpPr txBox="1"/>
            <p:nvPr/>
          </p:nvSpPr>
          <p:spPr>
            <a:xfrm>
              <a:off x="8921977" y="5205778"/>
              <a:ext cx="2926080" cy="276999"/>
            </a:xfrm>
            <a:prstGeom prst="rect">
              <a:avLst/>
            </a:prstGeom>
            <a:noFill/>
          </p:spPr>
          <p:txBody>
            <a:bodyPr wrap="square" lIns="0" rIns="0" rtlCol="0" anchor="t">
              <a:spAutoFit/>
            </a:bodyPr>
            <a:lstStyle/>
            <a:p>
              <a:pPr algn="just"/>
              <a:endParaRPr lang="en-US" sz="1200" noProof="1">
                <a:solidFill>
                  <a:schemeClr val="tx1">
                    <a:lumMod val="65000"/>
                    <a:lumOff val="35000"/>
                  </a:schemeClr>
                </a:solidFill>
              </a:endParaRPr>
            </a:p>
          </p:txBody>
        </p:sp>
      </p:grpSp>
      <p:grpSp>
        <p:nvGrpSpPr>
          <p:cNvPr id="45" name="Group 16">
            <a:extLst>
              <a:ext uri="{FF2B5EF4-FFF2-40B4-BE49-F238E27FC236}">
                <a16:creationId xmlns:a16="http://schemas.microsoft.com/office/drawing/2014/main" id="{BEC40B4C-0A31-AC18-3048-E66F95C207A4}"/>
              </a:ext>
            </a:extLst>
          </p:cNvPr>
          <p:cNvGrpSpPr/>
          <p:nvPr/>
        </p:nvGrpSpPr>
        <p:grpSpPr>
          <a:xfrm>
            <a:off x="494145" y="3001170"/>
            <a:ext cx="3024375" cy="1456242"/>
            <a:chOff x="234641" y="3406400"/>
            <a:chExt cx="3024375" cy="1456242"/>
          </a:xfrm>
        </p:grpSpPr>
        <p:sp>
          <p:nvSpPr>
            <p:cNvPr id="46" name="TextBox 17">
              <a:extLst>
                <a:ext uri="{FF2B5EF4-FFF2-40B4-BE49-F238E27FC236}">
                  <a16:creationId xmlns:a16="http://schemas.microsoft.com/office/drawing/2014/main" id="{FB841D39-3391-D1AC-C71C-51F160D728D9}"/>
                </a:ext>
              </a:extLst>
            </p:cNvPr>
            <p:cNvSpPr txBox="1"/>
            <p:nvPr/>
          </p:nvSpPr>
          <p:spPr>
            <a:xfrm>
              <a:off x="234641" y="4031645"/>
              <a:ext cx="2926080" cy="830997"/>
            </a:xfrm>
            <a:prstGeom prst="rect">
              <a:avLst/>
            </a:prstGeom>
            <a:noFill/>
          </p:spPr>
          <p:txBody>
            <a:bodyPr wrap="square" lIns="0" rIns="0" rtlCol="0" anchor="b">
              <a:spAutoFit/>
            </a:bodyPr>
            <a:lstStyle/>
            <a:p>
              <a:pPr algn="r"/>
              <a:r>
                <a:rPr lang="fr-FR" sz="2400" b="1" dirty="0">
                  <a:solidFill>
                    <a:schemeClr val="accent5">
                      <a:lumMod val="75000"/>
                    </a:schemeClr>
                  </a:solidFill>
                </a:rPr>
                <a:t>Touristes nationaux résidant en Tunisie</a:t>
              </a:r>
              <a:endParaRPr lang="en-US" sz="2400" b="1" dirty="0">
                <a:solidFill>
                  <a:schemeClr val="accent5">
                    <a:lumMod val="75000"/>
                  </a:schemeClr>
                </a:solidFill>
              </a:endParaRPr>
            </a:p>
          </p:txBody>
        </p:sp>
        <p:sp>
          <p:nvSpPr>
            <p:cNvPr id="47" name="TextBox 18">
              <a:extLst>
                <a:ext uri="{FF2B5EF4-FFF2-40B4-BE49-F238E27FC236}">
                  <a16:creationId xmlns:a16="http://schemas.microsoft.com/office/drawing/2014/main" id="{FB1A1F39-AFEA-520F-DD21-36C2F03D5ECB}"/>
                </a:ext>
              </a:extLst>
            </p:cNvPr>
            <p:cNvSpPr txBox="1"/>
            <p:nvPr/>
          </p:nvSpPr>
          <p:spPr>
            <a:xfrm>
              <a:off x="332936" y="3406400"/>
              <a:ext cx="2926080" cy="276999"/>
            </a:xfrm>
            <a:prstGeom prst="rect">
              <a:avLst/>
            </a:prstGeom>
            <a:noFill/>
          </p:spPr>
          <p:txBody>
            <a:bodyPr wrap="square" lIns="0" rIns="0" rtlCol="0" anchor="t">
              <a:spAutoFit/>
            </a:bodyPr>
            <a:lstStyle/>
            <a:p>
              <a:pPr algn="just"/>
              <a:endParaRPr lang="en-US" sz="1200" noProof="1">
                <a:solidFill>
                  <a:schemeClr val="tx1">
                    <a:lumMod val="65000"/>
                    <a:lumOff val="35000"/>
                  </a:schemeClr>
                </a:solidFill>
              </a:endParaRPr>
            </a:p>
          </p:txBody>
        </p:sp>
      </p:grpSp>
      <p:grpSp>
        <p:nvGrpSpPr>
          <p:cNvPr id="48" name="Group 19">
            <a:extLst>
              <a:ext uri="{FF2B5EF4-FFF2-40B4-BE49-F238E27FC236}">
                <a16:creationId xmlns:a16="http://schemas.microsoft.com/office/drawing/2014/main" id="{71488E7C-2801-2E76-EC5B-54DF2D86F3B8}"/>
              </a:ext>
            </a:extLst>
          </p:cNvPr>
          <p:cNvGrpSpPr/>
          <p:nvPr/>
        </p:nvGrpSpPr>
        <p:grpSpPr>
          <a:xfrm>
            <a:off x="1763829" y="5623739"/>
            <a:ext cx="3396495" cy="736155"/>
            <a:chOff x="-137479" y="4652338"/>
            <a:chExt cx="3396495" cy="736155"/>
          </a:xfrm>
        </p:grpSpPr>
        <p:sp>
          <p:nvSpPr>
            <p:cNvPr id="49" name="TextBox 20">
              <a:extLst>
                <a:ext uri="{FF2B5EF4-FFF2-40B4-BE49-F238E27FC236}">
                  <a16:creationId xmlns:a16="http://schemas.microsoft.com/office/drawing/2014/main" id="{A9AF34DA-BCB8-0E20-15E3-D594F1DB36EF}"/>
                </a:ext>
              </a:extLst>
            </p:cNvPr>
            <p:cNvSpPr txBox="1"/>
            <p:nvPr/>
          </p:nvSpPr>
          <p:spPr>
            <a:xfrm>
              <a:off x="-137479" y="4652338"/>
              <a:ext cx="3396495" cy="461665"/>
            </a:xfrm>
            <a:prstGeom prst="rect">
              <a:avLst/>
            </a:prstGeom>
            <a:noFill/>
          </p:spPr>
          <p:txBody>
            <a:bodyPr wrap="square" lIns="0" rIns="0" rtlCol="0" anchor="b">
              <a:spAutoFit/>
            </a:bodyPr>
            <a:lstStyle/>
            <a:p>
              <a:pPr algn="r"/>
              <a:r>
                <a:rPr lang="en-US" sz="2400" b="1" dirty="0" err="1">
                  <a:solidFill>
                    <a:schemeClr val="accent1"/>
                  </a:solidFill>
                </a:rPr>
                <a:t>Touristes</a:t>
              </a:r>
              <a:r>
                <a:rPr lang="en-US" sz="2400" b="1" dirty="0">
                  <a:solidFill>
                    <a:schemeClr val="accent1"/>
                  </a:solidFill>
                </a:rPr>
                <a:t> </a:t>
              </a:r>
              <a:r>
                <a:rPr lang="en-US" sz="2400" b="1" dirty="0" err="1">
                  <a:solidFill>
                    <a:schemeClr val="accent1"/>
                  </a:solidFill>
                </a:rPr>
                <a:t>internationaux</a:t>
              </a:r>
              <a:endParaRPr lang="en-US" sz="2400" b="1" dirty="0">
                <a:solidFill>
                  <a:schemeClr val="accent1"/>
                </a:solidFill>
              </a:endParaRPr>
            </a:p>
          </p:txBody>
        </p:sp>
        <p:sp>
          <p:nvSpPr>
            <p:cNvPr id="50" name="TextBox 21">
              <a:extLst>
                <a:ext uri="{FF2B5EF4-FFF2-40B4-BE49-F238E27FC236}">
                  <a16:creationId xmlns:a16="http://schemas.microsoft.com/office/drawing/2014/main" id="{52E3F677-16A2-9D2A-9D2C-4DF8DE58E026}"/>
                </a:ext>
              </a:extLst>
            </p:cNvPr>
            <p:cNvSpPr txBox="1"/>
            <p:nvPr/>
          </p:nvSpPr>
          <p:spPr>
            <a:xfrm>
              <a:off x="332936" y="5111494"/>
              <a:ext cx="2926080" cy="276999"/>
            </a:xfrm>
            <a:prstGeom prst="rect">
              <a:avLst/>
            </a:prstGeom>
            <a:noFill/>
          </p:spPr>
          <p:txBody>
            <a:bodyPr wrap="square" lIns="0" rIns="0" rtlCol="0" anchor="t">
              <a:spAutoFit/>
            </a:bodyPr>
            <a:lstStyle/>
            <a:p>
              <a:pPr algn="just"/>
              <a:endParaRPr lang="en-US" sz="1200" dirty="0">
                <a:solidFill>
                  <a:schemeClr val="tx1">
                    <a:lumMod val="65000"/>
                    <a:lumOff val="35000"/>
                  </a:schemeClr>
                </a:solidFill>
              </a:endParaRPr>
            </a:p>
          </p:txBody>
        </p:sp>
      </p:grpSp>
      <p:pic>
        <p:nvPicPr>
          <p:cNvPr id="51" name="Graphic 24" descr="Rocket with solid fill">
            <a:extLst>
              <a:ext uri="{FF2B5EF4-FFF2-40B4-BE49-F238E27FC236}">
                <a16:creationId xmlns:a16="http://schemas.microsoft.com/office/drawing/2014/main" id="{D047510E-25CA-BD1E-242A-BDB5F4C1DF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92611" y="3721874"/>
            <a:ext cx="640080" cy="640080"/>
          </a:xfrm>
          <a:prstGeom prst="rect">
            <a:avLst/>
          </a:prstGeom>
        </p:spPr>
      </p:pic>
      <p:pic>
        <p:nvPicPr>
          <p:cNvPr id="52" name="Graphic 25" descr="Bar chart with solid fill">
            <a:extLst>
              <a:ext uri="{FF2B5EF4-FFF2-40B4-BE49-F238E27FC236}">
                <a16:creationId xmlns:a16="http://schemas.microsoft.com/office/drawing/2014/main" id="{E60D351D-0D6A-BEAB-0967-1A43C59518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29959" y="5659224"/>
            <a:ext cx="640080" cy="640080"/>
          </a:xfrm>
          <a:prstGeom prst="rect">
            <a:avLst/>
          </a:prstGeom>
        </p:spPr>
      </p:pic>
      <p:pic>
        <p:nvPicPr>
          <p:cNvPr id="53" name="Graphic 26" descr="Lightbulb with solid fill">
            <a:extLst>
              <a:ext uri="{FF2B5EF4-FFF2-40B4-BE49-F238E27FC236}">
                <a16:creationId xmlns:a16="http://schemas.microsoft.com/office/drawing/2014/main" id="{68EBB0DE-F554-0E99-4C16-7CCB05C0F95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906393" y="3721874"/>
            <a:ext cx="640080" cy="640080"/>
          </a:xfrm>
          <a:prstGeom prst="rect">
            <a:avLst/>
          </a:prstGeom>
        </p:spPr>
      </p:pic>
      <p:pic>
        <p:nvPicPr>
          <p:cNvPr id="54" name="Graphic 27" descr="Bullseye with solid fill">
            <a:extLst>
              <a:ext uri="{FF2B5EF4-FFF2-40B4-BE49-F238E27FC236}">
                <a16:creationId xmlns:a16="http://schemas.microsoft.com/office/drawing/2014/main" id="{EF1BAD90-8C7F-D8EA-4B0C-088CE77FE54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29959" y="1798380"/>
            <a:ext cx="640080" cy="640080"/>
          </a:xfrm>
          <a:prstGeom prst="rect">
            <a:avLst/>
          </a:prstGeom>
        </p:spPr>
      </p:pic>
      <p:sp>
        <p:nvSpPr>
          <p:cNvPr id="3" name="Rectangle 2">
            <a:extLst>
              <a:ext uri="{FF2B5EF4-FFF2-40B4-BE49-F238E27FC236}">
                <a16:creationId xmlns:a16="http://schemas.microsoft.com/office/drawing/2014/main" id="{20CFEC3F-9E1D-42BB-83DB-F43B6291D1D6}"/>
              </a:ext>
            </a:extLst>
          </p:cNvPr>
          <p:cNvSpPr/>
          <p:nvPr/>
        </p:nvSpPr>
        <p:spPr>
          <a:xfrm>
            <a:off x="11475427" y="6273225"/>
            <a:ext cx="601447" cy="584775"/>
          </a:xfrm>
          <a:prstGeom prst="rect">
            <a:avLst/>
          </a:prstGeom>
        </p:spPr>
        <p:txBody>
          <a:bodyPr wrap="none">
            <a:spAutoFit/>
          </a:bodyPr>
          <a:lstStyle/>
          <a:p>
            <a:r>
              <a:rPr lang="en-US"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13</a:t>
            </a:r>
            <a:endParaRPr lang="fr-TN" sz="3200" dirty="0"/>
          </a:p>
        </p:txBody>
      </p:sp>
    </p:spTree>
    <p:extLst>
      <p:ext uri="{BB962C8B-B14F-4D97-AF65-F5344CB8AC3E}">
        <p14:creationId xmlns:p14="http://schemas.microsoft.com/office/powerpoint/2010/main" val="315651327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E0F79E-B1CF-E361-23EA-8BD8DC8FBF9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3C59D0FD-76A0-6818-127D-42B6D1AF85C3}"/>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cxnSp>
        <p:nvCxnSpPr>
          <p:cNvPr id="10" name="Straight Connector 9">
            <a:extLst>
              <a:ext uri="{FF2B5EF4-FFF2-40B4-BE49-F238E27FC236}">
                <a16:creationId xmlns:a16="http://schemas.microsoft.com/office/drawing/2014/main" id="{4ECF0011-C886-B9EE-B489-ACC6AF2F43CA}"/>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5" name="!!model">
            <a:extLst>
              <a:ext uri="{FF2B5EF4-FFF2-40B4-BE49-F238E27FC236}">
                <a16:creationId xmlns:a16="http://schemas.microsoft.com/office/drawing/2014/main" id="{EBD1F5B5-8835-17B6-ED99-DFCFFFE83CD5}"/>
              </a:ext>
            </a:extLst>
          </p:cNvPr>
          <p:cNvGrpSpPr/>
          <p:nvPr/>
        </p:nvGrpSpPr>
        <p:grpSpPr>
          <a:xfrm>
            <a:off x="5842207" y="369986"/>
            <a:ext cx="507586" cy="507586"/>
            <a:chOff x="5832785" y="1868829"/>
            <a:chExt cx="507586" cy="507586"/>
          </a:xfrm>
        </p:grpSpPr>
        <p:sp>
          <p:nvSpPr>
            <p:cNvPr id="26" name="Oval 25">
              <a:extLst>
                <a:ext uri="{FF2B5EF4-FFF2-40B4-BE49-F238E27FC236}">
                  <a16:creationId xmlns:a16="http://schemas.microsoft.com/office/drawing/2014/main" id="{EBA3D620-A99A-46C1-9201-037AB5B57BCB}"/>
                </a:ext>
              </a:extLst>
            </p:cNvPr>
            <p:cNvSpPr/>
            <p:nvPr/>
          </p:nvSpPr>
          <p:spPr>
            <a:xfrm>
              <a:off x="5832785" y="1868829"/>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7" name="Graphic 26">
              <a:extLst>
                <a:ext uri="{FF2B5EF4-FFF2-40B4-BE49-F238E27FC236}">
                  <a16:creationId xmlns:a16="http://schemas.microsoft.com/office/drawing/2014/main" id="{A7F1B823-BFAB-C4F3-806B-56C2CD2D790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60578" y="1996622"/>
              <a:ext cx="252000" cy="252000"/>
            </a:xfrm>
            <a:prstGeom prst="rect">
              <a:avLst/>
            </a:prstGeom>
          </p:spPr>
        </p:pic>
      </p:grpSp>
      <p:sp>
        <p:nvSpPr>
          <p:cNvPr id="21" name="TextBox 20">
            <a:extLst>
              <a:ext uri="{FF2B5EF4-FFF2-40B4-BE49-F238E27FC236}">
                <a16:creationId xmlns:a16="http://schemas.microsoft.com/office/drawing/2014/main" id="{0B65E001-BCA7-095E-68D2-D72C9B44C0C1}"/>
              </a:ext>
            </a:extLst>
          </p:cNvPr>
          <p:cNvSpPr txBox="1"/>
          <p:nvPr/>
        </p:nvSpPr>
        <p:spPr>
          <a:xfrm>
            <a:off x="234546" y="1056986"/>
            <a:ext cx="5328053" cy="587212"/>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800" dirty="0"/>
              <a:t>Positionnement</a:t>
            </a:r>
            <a:endParaRPr lang="en-GB" sz="4800" dirty="0"/>
          </a:p>
        </p:txBody>
      </p:sp>
      <p:sp>
        <p:nvSpPr>
          <p:cNvPr id="4" name="TextBox 1">
            <a:extLst>
              <a:ext uri="{FF2B5EF4-FFF2-40B4-BE49-F238E27FC236}">
                <a16:creationId xmlns:a16="http://schemas.microsoft.com/office/drawing/2014/main" id="{B0D1146B-65A7-6FD4-D64F-231865EA2593}"/>
              </a:ext>
            </a:extLst>
          </p:cNvPr>
          <p:cNvSpPr txBox="1"/>
          <p:nvPr/>
        </p:nvSpPr>
        <p:spPr>
          <a:xfrm>
            <a:off x="908648" y="407551"/>
            <a:ext cx="1239122"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Commerciale</a:t>
            </a:r>
          </a:p>
        </p:txBody>
      </p:sp>
      <p:sp>
        <p:nvSpPr>
          <p:cNvPr id="20" name="Rectangle: Rounded Corners 2">
            <a:extLst>
              <a:ext uri="{FF2B5EF4-FFF2-40B4-BE49-F238E27FC236}">
                <a16:creationId xmlns:a16="http://schemas.microsoft.com/office/drawing/2014/main" id="{34ECEF85-0A08-B5E2-C80C-35E6C016D45D}"/>
              </a:ext>
            </a:extLst>
          </p:cNvPr>
          <p:cNvSpPr/>
          <p:nvPr/>
        </p:nvSpPr>
        <p:spPr>
          <a:xfrm>
            <a:off x="994499" y="2302561"/>
            <a:ext cx="1838037" cy="2161309"/>
          </a:xfrm>
          <a:prstGeom prst="roundRect">
            <a:avLst>
              <a:gd name="adj" fmla="val 1246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Rounded Corners 3">
            <a:extLst>
              <a:ext uri="{FF2B5EF4-FFF2-40B4-BE49-F238E27FC236}">
                <a16:creationId xmlns:a16="http://schemas.microsoft.com/office/drawing/2014/main" id="{15A2E8EC-2177-BB8C-8EC1-AC4CB0E6B6EF}"/>
              </a:ext>
            </a:extLst>
          </p:cNvPr>
          <p:cNvSpPr/>
          <p:nvPr/>
        </p:nvSpPr>
        <p:spPr>
          <a:xfrm>
            <a:off x="3765020" y="2302560"/>
            <a:ext cx="1838037" cy="2161309"/>
          </a:xfrm>
          <a:prstGeom prst="roundRect">
            <a:avLst>
              <a:gd name="adj" fmla="val 1246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Rounded Corners 4">
            <a:extLst>
              <a:ext uri="{FF2B5EF4-FFF2-40B4-BE49-F238E27FC236}">
                <a16:creationId xmlns:a16="http://schemas.microsoft.com/office/drawing/2014/main" id="{79BDD5D5-2EA3-AF4B-4701-037872562986}"/>
              </a:ext>
            </a:extLst>
          </p:cNvPr>
          <p:cNvSpPr/>
          <p:nvPr/>
        </p:nvSpPr>
        <p:spPr>
          <a:xfrm>
            <a:off x="6535047" y="2311321"/>
            <a:ext cx="1838037" cy="2161309"/>
          </a:xfrm>
          <a:prstGeom prst="roundRect">
            <a:avLst>
              <a:gd name="adj" fmla="val 1246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4" name="Group 6">
            <a:extLst>
              <a:ext uri="{FF2B5EF4-FFF2-40B4-BE49-F238E27FC236}">
                <a16:creationId xmlns:a16="http://schemas.microsoft.com/office/drawing/2014/main" id="{C0136976-0DD4-E180-1B75-EED711DD2127}"/>
              </a:ext>
            </a:extLst>
          </p:cNvPr>
          <p:cNvGrpSpPr/>
          <p:nvPr/>
        </p:nvGrpSpPr>
        <p:grpSpPr>
          <a:xfrm>
            <a:off x="913937" y="2200962"/>
            <a:ext cx="8041742" cy="2364509"/>
            <a:chOff x="944673" y="1375663"/>
            <a:chExt cx="8041742" cy="2364509"/>
          </a:xfrm>
          <a:gradFill>
            <a:gsLst>
              <a:gs pos="91000">
                <a:schemeClr val="accent3"/>
              </a:gs>
              <a:gs pos="50000">
                <a:schemeClr val="accent2"/>
              </a:gs>
              <a:gs pos="25000">
                <a:schemeClr val="accent5"/>
              </a:gs>
              <a:gs pos="0">
                <a:schemeClr val="tx2">
                  <a:lumMod val="75000"/>
                  <a:lumOff val="25000"/>
                </a:schemeClr>
              </a:gs>
              <a:gs pos="100000">
                <a:schemeClr val="accent6"/>
              </a:gs>
            </a:gsLst>
            <a:lin ang="600000" scaled="0"/>
          </a:gradFill>
        </p:grpSpPr>
        <p:sp>
          <p:nvSpPr>
            <p:cNvPr id="35" name="Freeform: Shape 7">
              <a:extLst>
                <a:ext uri="{FF2B5EF4-FFF2-40B4-BE49-F238E27FC236}">
                  <a16:creationId xmlns:a16="http://schemas.microsoft.com/office/drawing/2014/main" id="{7F608C4C-B722-972D-B080-E4C7ABDFC4F3}"/>
                </a:ext>
              </a:extLst>
            </p:cNvPr>
            <p:cNvSpPr/>
            <p:nvPr/>
          </p:nvSpPr>
          <p:spPr>
            <a:xfrm>
              <a:off x="944673" y="1375663"/>
              <a:ext cx="2497282" cy="2364509"/>
            </a:xfrm>
            <a:custGeom>
              <a:avLst/>
              <a:gdLst>
                <a:gd name="connsiteX0" fmla="*/ 330976 w 2497282"/>
                <a:gd name="connsiteY0" fmla="*/ 0 h 2364509"/>
                <a:gd name="connsiteX1" fmla="*/ 1654842 w 2497282"/>
                <a:gd name="connsiteY1" fmla="*/ 0 h 2364509"/>
                <a:gd name="connsiteX2" fmla="*/ 1979094 w 2497282"/>
                <a:gd name="connsiteY2" fmla="*/ 264273 h 2364509"/>
                <a:gd name="connsiteX3" fmla="*/ 1983586 w 2497282"/>
                <a:gd name="connsiteY3" fmla="*/ 308830 h 2364509"/>
                <a:gd name="connsiteX4" fmla="*/ 1985963 w 2497282"/>
                <a:gd name="connsiteY4" fmla="*/ 320606 h 2364509"/>
                <a:gd name="connsiteX5" fmla="*/ 1985963 w 2497282"/>
                <a:gd name="connsiteY5" fmla="*/ 651813 h 2364509"/>
                <a:gd name="connsiteX6" fmla="*/ 1985818 w 2497282"/>
                <a:gd name="connsiteY6" fmla="*/ 652531 h 2364509"/>
                <a:gd name="connsiteX7" fmla="*/ 1985818 w 2497282"/>
                <a:gd name="connsiteY7" fmla="*/ 657949 h 2364509"/>
                <a:gd name="connsiteX8" fmla="*/ 1984724 w 2497282"/>
                <a:gd name="connsiteY8" fmla="*/ 657949 h 2364509"/>
                <a:gd name="connsiteX9" fmla="*/ 1980349 w 2497282"/>
                <a:gd name="connsiteY9" fmla="*/ 679620 h 2364509"/>
                <a:gd name="connsiteX10" fmla="*/ 1914525 w 2497282"/>
                <a:gd name="connsiteY10" fmla="*/ 723251 h 2364509"/>
                <a:gd name="connsiteX11" fmla="*/ 1848701 w 2497282"/>
                <a:gd name="connsiteY11" fmla="*/ 679620 h 2364509"/>
                <a:gd name="connsiteX12" fmla="*/ 1844326 w 2497282"/>
                <a:gd name="connsiteY12" fmla="*/ 657949 h 2364509"/>
                <a:gd name="connsiteX13" fmla="*/ 1842311 w 2497282"/>
                <a:gd name="connsiteY13" fmla="*/ 657949 h 2364509"/>
                <a:gd name="connsiteX14" fmla="*/ 1842311 w 2497282"/>
                <a:gd name="connsiteY14" fmla="*/ 380114 h 2364509"/>
                <a:gd name="connsiteX15" fmla="*/ 1633069 w 2497282"/>
                <a:gd name="connsiteY15" fmla="*/ 170872 h 2364509"/>
                <a:gd name="connsiteX16" fmla="*/ 352748 w 2497282"/>
                <a:gd name="connsiteY16" fmla="*/ 170872 h 2364509"/>
                <a:gd name="connsiteX17" fmla="*/ 143506 w 2497282"/>
                <a:gd name="connsiteY17" fmla="*/ 380114 h 2364509"/>
                <a:gd name="connsiteX18" fmla="*/ 143506 w 2497282"/>
                <a:gd name="connsiteY18" fmla="*/ 1984393 h 2364509"/>
                <a:gd name="connsiteX19" fmla="*/ 352748 w 2497282"/>
                <a:gd name="connsiteY19" fmla="*/ 2193635 h 2364509"/>
                <a:gd name="connsiteX20" fmla="*/ 1633069 w 2497282"/>
                <a:gd name="connsiteY20" fmla="*/ 2193635 h 2364509"/>
                <a:gd name="connsiteX21" fmla="*/ 1842311 w 2497282"/>
                <a:gd name="connsiteY21" fmla="*/ 1984393 h 2364509"/>
                <a:gd name="connsiteX22" fmla="*/ 1842311 w 2497282"/>
                <a:gd name="connsiteY22" fmla="*/ 1799217 h 2364509"/>
                <a:gd name="connsiteX23" fmla="*/ 1841500 w 2497282"/>
                <a:gd name="connsiteY23" fmla="*/ 1799217 h 2364509"/>
                <a:gd name="connsiteX24" fmla="*/ 1841500 w 2497282"/>
                <a:gd name="connsiteY24" fmla="*/ 1208198 h 2364509"/>
                <a:gd name="connsiteX25" fmla="*/ 2128405 w 2497282"/>
                <a:gd name="connsiteY25" fmla="*/ 921293 h 2364509"/>
                <a:gd name="connsiteX26" fmla="*/ 2333337 w 2497282"/>
                <a:gd name="connsiteY26" fmla="*/ 921294 h 2364509"/>
                <a:gd name="connsiteX27" fmla="*/ 2333337 w 2497282"/>
                <a:gd name="connsiteY27" fmla="*/ 829399 h 2364509"/>
                <a:gd name="connsiteX28" fmla="*/ 2497282 w 2497282"/>
                <a:gd name="connsiteY28" fmla="*/ 993345 h 2364509"/>
                <a:gd name="connsiteX29" fmla="*/ 2333337 w 2497282"/>
                <a:gd name="connsiteY29" fmla="*/ 1157290 h 2364509"/>
                <a:gd name="connsiteX30" fmla="*/ 2333337 w 2497282"/>
                <a:gd name="connsiteY30" fmla="*/ 1065395 h 2364509"/>
                <a:gd name="connsiteX31" fmla="*/ 2128405 w 2497282"/>
                <a:gd name="connsiteY31" fmla="*/ 1065395 h 2364509"/>
                <a:gd name="connsiteX32" fmla="*/ 1985602 w 2497282"/>
                <a:gd name="connsiteY32" fmla="*/ 1208198 h 2364509"/>
                <a:gd name="connsiteX33" fmla="*/ 1985602 w 2497282"/>
                <a:gd name="connsiteY33" fmla="*/ 1546949 h 2364509"/>
                <a:gd name="connsiteX34" fmla="*/ 1985818 w 2497282"/>
                <a:gd name="connsiteY34" fmla="*/ 1546949 h 2364509"/>
                <a:gd name="connsiteX35" fmla="*/ 1985818 w 2497282"/>
                <a:gd name="connsiteY35" fmla="*/ 2033533 h 2364509"/>
                <a:gd name="connsiteX36" fmla="*/ 1654842 w 2497282"/>
                <a:gd name="connsiteY36" fmla="*/ 2364509 h 2364509"/>
                <a:gd name="connsiteX37" fmla="*/ 330976 w 2497282"/>
                <a:gd name="connsiteY37" fmla="*/ 2364509 h 2364509"/>
                <a:gd name="connsiteX38" fmla="*/ 0 w 2497282"/>
                <a:gd name="connsiteY38" fmla="*/ 2033533 h 2364509"/>
                <a:gd name="connsiteX39" fmla="*/ 0 w 2497282"/>
                <a:gd name="connsiteY39" fmla="*/ 330976 h 2364509"/>
                <a:gd name="connsiteX40" fmla="*/ 330976 w 2497282"/>
                <a:gd name="connsiteY40" fmla="*/ 0 h 2364509"/>
                <a:gd name="connsiteX0" fmla="*/ 330976 w 2497282"/>
                <a:gd name="connsiteY0" fmla="*/ 0 h 2364509"/>
                <a:gd name="connsiteX1" fmla="*/ 1654842 w 2497282"/>
                <a:gd name="connsiteY1" fmla="*/ 0 h 2364509"/>
                <a:gd name="connsiteX2" fmla="*/ 1979094 w 2497282"/>
                <a:gd name="connsiteY2" fmla="*/ 264273 h 2364509"/>
                <a:gd name="connsiteX3" fmla="*/ 1985963 w 2497282"/>
                <a:gd name="connsiteY3" fmla="*/ 320606 h 2364509"/>
                <a:gd name="connsiteX4" fmla="*/ 1985963 w 2497282"/>
                <a:gd name="connsiteY4" fmla="*/ 651813 h 2364509"/>
                <a:gd name="connsiteX5" fmla="*/ 1985818 w 2497282"/>
                <a:gd name="connsiteY5" fmla="*/ 652531 h 2364509"/>
                <a:gd name="connsiteX6" fmla="*/ 1985818 w 2497282"/>
                <a:gd name="connsiteY6" fmla="*/ 657949 h 2364509"/>
                <a:gd name="connsiteX7" fmla="*/ 1984724 w 2497282"/>
                <a:gd name="connsiteY7" fmla="*/ 657949 h 2364509"/>
                <a:gd name="connsiteX8" fmla="*/ 1980349 w 2497282"/>
                <a:gd name="connsiteY8" fmla="*/ 679620 h 2364509"/>
                <a:gd name="connsiteX9" fmla="*/ 1914525 w 2497282"/>
                <a:gd name="connsiteY9" fmla="*/ 723251 h 2364509"/>
                <a:gd name="connsiteX10" fmla="*/ 1848701 w 2497282"/>
                <a:gd name="connsiteY10" fmla="*/ 679620 h 2364509"/>
                <a:gd name="connsiteX11" fmla="*/ 1844326 w 2497282"/>
                <a:gd name="connsiteY11" fmla="*/ 657949 h 2364509"/>
                <a:gd name="connsiteX12" fmla="*/ 1842311 w 2497282"/>
                <a:gd name="connsiteY12" fmla="*/ 657949 h 2364509"/>
                <a:gd name="connsiteX13" fmla="*/ 1842311 w 2497282"/>
                <a:gd name="connsiteY13" fmla="*/ 380114 h 2364509"/>
                <a:gd name="connsiteX14" fmla="*/ 1633069 w 2497282"/>
                <a:gd name="connsiteY14" fmla="*/ 170872 h 2364509"/>
                <a:gd name="connsiteX15" fmla="*/ 352748 w 2497282"/>
                <a:gd name="connsiteY15" fmla="*/ 170872 h 2364509"/>
                <a:gd name="connsiteX16" fmla="*/ 143506 w 2497282"/>
                <a:gd name="connsiteY16" fmla="*/ 380114 h 2364509"/>
                <a:gd name="connsiteX17" fmla="*/ 143506 w 2497282"/>
                <a:gd name="connsiteY17" fmla="*/ 1984393 h 2364509"/>
                <a:gd name="connsiteX18" fmla="*/ 352748 w 2497282"/>
                <a:gd name="connsiteY18" fmla="*/ 2193635 h 2364509"/>
                <a:gd name="connsiteX19" fmla="*/ 1633069 w 2497282"/>
                <a:gd name="connsiteY19" fmla="*/ 2193635 h 2364509"/>
                <a:gd name="connsiteX20" fmla="*/ 1842311 w 2497282"/>
                <a:gd name="connsiteY20" fmla="*/ 1984393 h 2364509"/>
                <a:gd name="connsiteX21" fmla="*/ 1842311 w 2497282"/>
                <a:gd name="connsiteY21" fmla="*/ 1799217 h 2364509"/>
                <a:gd name="connsiteX22" fmla="*/ 1841500 w 2497282"/>
                <a:gd name="connsiteY22" fmla="*/ 1799217 h 2364509"/>
                <a:gd name="connsiteX23" fmla="*/ 1841500 w 2497282"/>
                <a:gd name="connsiteY23" fmla="*/ 1208198 h 2364509"/>
                <a:gd name="connsiteX24" fmla="*/ 2128405 w 2497282"/>
                <a:gd name="connsiteY24" fmla="*/ 921293 h 2364509"/>
                <a:gd name="connsiteX25" fmla="*/ 2333337 w 2497282"/>
                <a:gd name="connsiteY25" fmla="*/ 921294 h 2364509"/>
                <a:gd name="connsiteX26" fmla="*/ 2333337 w 2497282"/>
                <a:gd name="connsiteY26" fmla="*/ 829399 h 2364509"/>
                <a:gd name="connsiteX27" fmla="*/ 2497282 w 2497282"/>
                <a:gd name="connsiteY27" fmla="*/ 993345 h 2364509"/>
                <a:gd name="connsiteX28" fmla="*/ 2333337 w 2497282"/>
                <a:gd name="connsiteY28" fmla="*/ 1157290 h 2364509"/>
                <a:gd name="connsiteX29" fmla="*/ 2333337 w 2497282"/>
                <a:gd name="connsiteY29" fmla="*/ 1065395 h 2364509"/>
                <a:gd name="connsiteX30" fmla="*/ 2128405 w 2497282"/>
                <a:gd name="connsiteY30" fmla="*/ 1065395 h 2364509"/>
                <a:gd name="connsiteX31" fmla="*/ 1985602 w 2497282"/>
                <a:gd name="connsiteY31" fmla="*/ 1208198 h 2364509"/>
                <a:gd name="connsiteX32" fmla="*/ 1985602 w 2497282"/>
                <a:gd name="connsiteY32" fmla="*/ 1546949 h 2364509"/>
                <a:gd name="connsiteX33" fmla="*/ 1985818 w 2497282"/>
                <a:gd name="connsiteY33" fmla="*/ 1546949 h 2364509"/>
                <a:gd name="connsiteX34" fmla="*/ 1985818 w 2497282"/>
                <a:gd name="connsiteY34" fmla="*/ 2033533 h 2364509"/>
                <a:gd name="connsiteX35" fmla="*/ 1654842 w 2497282"/>
                <a:gd name="connsiteY35" fmla="*/ 2364509 h 2364509"/>
                <a:gd name="connsiteX36" fmla="*/ 330976 w 2497282"/>
                <a:gd name="connsiteY36" fmla="*/ 2364509 h 2364509"/>
                <a:gd name="connsiteX37" fmla="*/ 0 w 2497282"/>
                <a:gd name="connsiteY37" fmla="*/ 2033533 h 2364509"/>
                <a:gd name="connsiteX38" fmla="*/ 0 w 2497282"/>
                <a:gd name="connsiteY38" fmla="*/ 330976 h 2364509"/>
                <a:gd name="connsiteX39" fmla="*/ 330976 w 2497282"/>
                <a:gd name="connsiteY39" fmla="*/ 0 h 236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97282" h="2364509">
                  <a:moveTo>
                    <a:pt x="330976" y="0"/>
                  </a:moveTo>
                  <a:lnTo>
                    <a:pt x="1654842" y="0"/>
                  </a:lnTo>
                  <a:cubicBezTo>
                    <a:pt x="1814786" y="0"/>
                    <a:pt x="1948232" y="113453"/>
                    <a:pt x="1979094" y="264273"/>
                  </a:cubicBezTo>
                  <a:lnTo>
                    <a:pt x="1985963" y="320606"/>
                  </a:lnTo>
                  <a:lnTo>
                    <a:pt x="1985963" y="651813"/>
                  </a:lnTo>
                  <a:cubicBezTo>
                    <a:pt x="1985915" y="652052"/>
                    <a:pt x="1985866" y="652292"/>
                    <a:pt x="1985818" y="652531"/>
                  </a:cubicBezTo>
                  <a:lnTo>
                    <a:pt x="1985818" y="657949"/>
                  </a:lnTo>
                  <a:lnTo>
                    <a:pt x="1984724" y="657949"/>
                  </a:lnTo>
                  <a:lnTo>
                    <a:pt x="1980349" y="679620"/>
                  </a:lnTo>
                  <a:cubicBezTo>
                    <a:pt x="1969504" y="705260"/>
                    <a:pt x="1944116" y="723251"/>
                    <a:pt x="1914525" y="723251"/>
                  </a:cubicBezTo>
                  <a:cubicBezTo>
                    <a:pt x="1884935" y="723251"/>
                    <a:pt x="1859546" y="705260"/>
                    <a:pt x="1848701" y="679620"/>
                  </a:cubicBezTo>
                  <a:lnTo>
                    <a:pt x="1844326" y="657949"/>
                  </a:lnTo>
                  <a:lnTo>
                    <a:pt x="1842311" y="657949"/>
                  </a:lnTo>
                  <a:lnTo>
                    <a:pt x="1842311" y="380114"/>
                  </a:lnTo>
                  <a:cubicBezTo>
                    <a:pt x="1842311" y="264553"/>
                    <a:pt x="1748630" y="170872"/>
                    <a:pt x="1633069" y="170872"/>
                  </a:cubicBezTo>
                  <a:lnTo>
                    <a:pt x="352748" y="170872"/>
                  </a:lnTo>
                  <a:cubicBezTo>
                    <a:pt x="237187" y="170872"/>
                    <a:pt x="143506" y="264553"/>
                    <a:pt x="143506" y="380114"/>
                  </a:cubicBezTo>
                  <a:lnTo>
                    <a:pt x="143506" y="1984393"/>
                  </a:lnTo>
                  <a:cubicBezTo>
                    <a:pt x="143506" y="2099954"/>
                    <a:pt x="237187" y="2193635"/>
                    <a:pt x="352748" y="2193635"/>
                  </a:cubicBezTo>
                  <a:lnTo>
                    <a:pt x="1633069" y="2193635"/>
                  </a:lnTo>
                  <a:cubicBezTo>
                    <a:pt x="1748630" y="2193635"/>
                    <a:pt x="1842311" y="2099954"/>
                    <a:pt x="1842311" y="1984393"/>
                  </a:cubicBezTo>
                  <a:lnTo>
                    <a:pt x="1842311" y="1799217"/>
                  </a:lnTo>
                  <a:lnTo>
                    <a:pt x="1841500" y="1799217"/>
                  </a:lnTo>
                  <a:lnTo>
                    <a:pt x="1841500" y="1208198"/>
                  </a:lnTo>
                  <a:cubicBezTo>
                    <a:pt x="1841500" y="1049745"/>
                    <a:pt x="1969952" y="921293"/>
                    <a:pt x="2128405" y="921293"/>
                  </a:cubicBezTo>
                  <a:lnTo>
                    <a:pt x="2333337" y="921294"/>
                  </a:lnTo>
                  <a:lnTo>
                    <a:pt x="2333337" y="829399"/>
                  </a:lnTo>
                  <a:lnTo>
                    <a:pt x="2497282" y="993345"/>
                  </a:lnTo>
                  <a:lnTo>
                    <a:pt x="2333337" y="1157290"/>
                  </a:lnTo>
                  <a:lnTo>
                    <a:pt x="2333337" y="1065395"/>
                  </a:lnTo>
                  <a:lnTo>
                    <a:pt x="2128405" y="1065395"/>
                  </a:lnTo>
                  <a:cubicBezTo>
                    <a:pt x="2049537" y="1065395"/>
                    <a:pt x="1985602" y="1129330"/>
                    <a:pt x="1985602" y="1208198"/>
                  </a:cubicBezTo>
                  <a:lnTo>
                    <a:pt x="1985602" y="1546949"/>
                  </a:lnTo>
                  <a:lnTo>
                    <a:pt x="1985818" y="1546949"/>
                  </a:lnTo>
                  <a:lnTo>
                    <a:pt x="1985818" y="2033533"/>
                  </a:lnTo>
                  <a:cubicBezTo>
                    <a:pt x="1985818" y="2216326"/>
                    <a:pt x="1837635" y="2364509"/>
                    <a:pt x="1654842" y="2364509"/>
                  </a:cubicBezTo>
                  <a:lnTo>
                    <a:pt x="330976" y="2364509"/>
                  </a:lnTo>
                  <a:cubicBezTo>
                    <a:pt x="148183" y="2364509"/>
                    <a:pt x="0" y="2216326"/>
                    <a:pt x="0" y="2033533"/>
                  </a:cubicBezTo>
                  <a:lnTo>
                    <a:pt x="0" y="330976"/>
                  </a:lnTo>
                  <a:cubicBezTo>
                    <a:pt x="0" y="148183"/>
                    <a:pt x="148183" y="0"/>
                    <a:pt x="33097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Shape 8">
              <a:extLst>
                <a:ext uri="{FF2B5EF4-FFF2-40B4-BE49-F238E27FC236}">
                  <a16:creationId xmlns:a16="http://schemas.microsoft.com/office/drawing/2014/main" id="{A1CE2E77-6479-9BAD-F8C2-D31BBC975F9A}"/>
                </a:ext>
              </a:extLst>
            </p:cNvPr>
            <p:cNvSpPr/>
            <p:nvPr/>
          </p:nvSpPr>
          <p:spPr>
            <a:xfrm>
              <a:off x="3716903" y="1375663"/>
              <a:ext cx="2497282" cy="2364509"/>
            </a:xfrm>
            <a:custGeom>
              <a:avLst/>
              <a:gdLst>
                <a:gd name="connsiteX0" fmla="*/ 330976 w 2497282"/>
                <a:gd name="connsiteY0" fmla="*/ 0 h 2364509"/>
                <a:gd name="connsiteX1" fmla="*/ 1654842 w 2497282"/>
                <a:gd name="connsiteY1" fmla="*/ 0 h 2364509"/>
                <a:gd name="connsiteX2" fmla="*/ 1979094 w 2497282"/>
                <a:gd name="connsiteY2" fmla="*/ 264273 h 2364509"/>
                <a:gd name="connsiteX3" fmla="*/ 1983586 w 2497282"/>
                <a:gd name="connsiteY3" fmla="*/ 308830 h 2364509"/>
                <a:gd name="connsiteX4" fmla="*/ 1985963 w 2497282"/>
                <a:gd name="connsiteY4" fmla="*/ 320606 h 2364509"/>
                <a:gd name="connsiteX5" fmla="*/ 1985963 w 2497282"/>
                <a:gd name="connsiteY5" fmla="*/ 651813 h 2364509"/>
                <a:gd name="connsiteX6" fmla="*/ 1985818 w 2497282"/>
                <a:gd name="connsiteY6" fmla="*/ 652531 h 2364509"/>
                <a:gd name="connsiteX7" fmla="*/ 1985818 w 2497282"/>
                <a:gd name="connsiteY7" fmla="*/ 657949 h 2364509"/>
                <a:gd name="connsiteX8" fmla="*/ 1984724 w 2497282"/>
                <a:gd name="connsiteY8" fmla="*/ 657949 h 2364509"/>
                <a:gd name="connsiteX9" fmla="*/ 1980349 w 2497282"/>
                <a:gd name="connsiteY9" fmla="*/ 679620 h 2364509"/>
                <a:gd name="connsiteX10" fmla="*/ 1914525 w 2497282"/>
                <a:gd name="connsiteY10" fmla="*/ 723251 h 2364509"/>
                <a:gd name="connsiteX11" fmla="*/ 1848701 w 2497282"/>
                <a:gd name="connsiteY11" fmla="*/ 679620 h 2364509"/>
                <a:gd name="connsiteX12" fmla="*/ 1844326 w 2497282"/>
                <a:gd name="connsiteY12" fmla="*/ 657949 h 2364509"/>
                <a:gd name="connsiteX13" fmla="*/ 1842311 w 2497282"/>
                <a:gd name="connsiteY13" fmla="*/ 657949 h 2364509"/>
                <a:gd name="connsiteX14" fmla="*/ 1842311 w 2497282"/>
                <a:gd name="connsiteY14" fmla="*/ 380114 h 2364509"/>
                <a:gd name="connsiteX15" fmla="*/ 1633069 w 2497282"/>
                <a:gd name="connsiteY15" fmla="*/ 170872 h 2364509"/>
                <a:gd name="connsiteX16" fmla="*/ 352748 w 2497282"/>
                <a:gd name="connsiteY16" fmla="*/ 170872 h 2364509"/>
                <a:gd name="connsiteX17" fmla="*/ 143506 w 2497282"/>
                <a:gd name="connsiteY17" fmla="*/ 380114 h 2364509"/>
                <a:gd name="connsiteX18" fmla="*/ 143506 w 2497282"/>
                <a:gd name="connsiteY18" fmla="*/ 1984393 h 2364509"/>
                <a:gd name="connsiteX19" fmla="*/ 352748 w 2497282"/>
                <a:gd name="connsiteY19" fmla="*/ 2193635 h 2364509"/>
                <a:gd name="connsiteX20" fmla="*/ 1633069 w 2497282"/>
                <a:gd name="connsiteY20" fmla="*/ 2193635 h 2364509"/>
                <a:gd name="connsiteX21" fmla="*/ 1842311 w 2497282"/>
                <a:gd name="connsiteY21" fmla="*/ 1984393 h 2364509"/>
                <a:gd name="connsiteX22" fmla="*/ 1842311 w 2497282"/>
                <a:gd name="connsiteY22" fmla="*/ 1799217 h 2364509"/>
                <a:gd name="connsiteX23" fmla="*/ 1841500 w 2497282"/>
                <a:gd name="connsiteY23" fmla="*/ 1799217 h 2364509"/>
                <a:gd name="connsiteX24" fmla="*/ 1841500 w 2497282"/>
                <a:gd name="connsiteY24" fmla="*/ 1208198 h 2364509"/>
                <a:gd name="connsiteX25" fmla="*/ 2128405 w 2497282"/>
                <a:gd name="connsiteY25" fmla="*/ 921293 h 2364509"/>
                <a:gd name="connsiteX26" fmla="*/ 2333337 w 2497282"/>
                <a:gd name="connsiteY26" fmla="*/ 921294 h 2364509"/>
                <a:gd name="connsiteX27" fmla="*/ 2333337 w 2497282"/>
                <a:gd name="connsiteY27" fmla="*/ 829399 h 2364509"/>
                <a:gd name="connsiteX28" fmla="*/ 2497282 w 2497282"/>
                <a:gd name="connsiteY28" fmla="*/ 993345 h 2364509"/>
                <a:gd name="connsiteX29" fmla="*/ 2333337 w 2497282"/>
                <a:gd name="connsiteY29" fmla="*/ 1157290 h 2364509"/>
                <a:gd name="connsiteX30" fmla="*/ 2333337 w 2497282"/>
                <a:gd name="connsiteY30" fmla="*/ 1065395 h 2364509"/>
                <a:gd name="connsiteX31" fmla="*/ 2128405 w 2497282"/>
                <a:gd name="connsiteY31" fmla="*/ 1065395 h 2364509"/>
                <a:gd name="connsiteX32" fmla="*/ 1985602 w 2497282"/>
                <a:gd name="connsiteY32" fmla="*/ 1208198 h 2364509"/>
                <a:gd name="connsiteX33" fmla="*/ 1985602 w 2497282"/>
                <a:gd name="connsiteY33" fmla="*/ 1546949 h 2364509"/>
                <a:gd name="connsiteX34" fmla="*/ 1985818 w 2497282"/>
                <a:gd name="connsiteY34" fmla="*/ 1546949 h 2364509"/>
                <a:gd name="connsiteX35" fmla="*/ 1985818 w 2497282"/>
                <a:gd name="connsiteY35" fmla="*/ 2033533 h 2364509"/>
                <a:gd name="connsiteX36" fmla="*/ 1654842 w 2497282"/>
                <a:gd name="connsiteY36" fmla="*/ 2364509 h 2364509"/>
                <a:gd name="connsiteX37" fmla="*/ 330976 w 2497282"/>
                <a:gd name="connsiteY37" fmla="*/ 2364509 h 2364509"/>
                <a:gd name="connsiteX38" fmla="*/ 0 w 2497282"/>
                <a:gd name="connsiteY38" fmla="*/ 2033533 h 2364509"/>
                <a:gd name="connsiteX39" fmla="*/ 0 w 2497282"/>
                <a:gd name="connsiteY39" fmla="*/ 330976 h 2364509"/>
                <a:gd name="connsiteX40" fmla="*/ 330976 w 2497282"/>
                <a:gd name="connsiteY40" fmla="*/ 0 h 2364509"/>
                <a:gd name="connsiteX0" fmla="*/ 330976 w 2497282"/>
                <a:gd name="connsiteY0" fmla="*/ 0 h 2364509"/>
                <a:gd name="connsiteX1" fmla="*/ 1654842 w 2497282"/>
                <a:gd name="connsiteY1" fmla="*/ 0 h 2364509"/>
                <a:gd name="connsiteX2" fmla="*/ 1979094 w 2497282"/>
                <a:gd name="connsiteY2" fmla="*/ 264273 h 2364509"/>
                <a:gd name="connsiteX3" fmla="*/ 1985963 w 2497282"/>
                <a:gd name="connsiteY3" fmla="*/ 320606 h 2364509"/>
                <a:gd name="connsiteX4" fmla="*/ 1985963 w 2497282"/>
                <a:gd name="connsiteY4" fmla="*/ 651813 h 2364509"/>
                <a:gd name="connsiteX5" fmla="*/ 1985818 w 2497282"/>
                <a:gd name="connsiteY5" fmla="*/ 652531 h 2364509"/>
                <a:gd name="connsiteX6" fmla="*/ 1985818 w 2497282"/>
                <a:gd name="connsiteY6" fmla="*/ 657949 h 2364509"/>
                <a:gd name="connsiteX7" fmla="*/ 1984724 w 2497282"/>
                <a:gd name="connsiteY7" fmla="*/ 657949 h 2364509"/>
                <a:gd name="connsiteX8" fmla="*/ 1980349 w 2497282"/>
                <a:gd name="connsiteY8" fmla="*/ 679620 h 2364509"/>
                <a:gd name="connsiteX9" fmla="*/ 1914525 w 2497282"/>
                <a:gd name="connsiteY9" fmla="*/ 723251 h 2364509"/>
                <a:gd name="connsiteX10" fmla="*/ 1848701 w 2497282"/>
                <a:gd name="connsiteY10" fmla="*/ 679620 h 2364509"/>
                <a:gd name="connsiteX11" fmla="*/ 1844326 w 2497282"/>
                <a:gd name="connsiteY11" fmla="*/ 657949 h 2364509"/>
                <a:gd name="connsiteX12" fmla="*/ 1842311 w 2497282"/>
                <a:gd name="connsiteY12" fmla="*/ 657949 h 2364509"/>
                <a:gd name="connsiteX13" fmla="*/ 1842311 w 2497282"/>
                <a:gd name="connsiteY13" fmla="*/ 380114 h 2364509"/>
                <a:gd name="connsiteX14" fmla="*/ 1633069 w 2497282"/>
                <a:gd name="connsiteY14" fmla="*/ 170872 h 2364509"/>
                <a:gd name="connsiteX15" fmla="*/ 352748 w 2497282"/>
                <a:gd name="connsiteY15" fmla="*/ 170872 h 2364509"/>
                <a:gd name="connsiteX16" fmla="*/ 143506 w 2497282"/>
                <a:gd name="connsiteY16" fmla="*/ 380114 h 2364509"/>
                <a:gd name="connsiteX17" fmla="*/ 143506 w 2497282"/>
                <a:gd name="connsiteY17" fmla="*/ 1984393 h 2364509"/>
                <a:gd name="connsiteX18" fmla="*/ 352748 w 2497282"/>
                <a:gd name="connsiteY18" fmla="*/ 2193635 h 2364509"/>
                <a:gd name="connsiteX19" fmla="*/ 1633069 w 2497282"/>
                <a:gd name="connsiteY19" fmla="*/ 2193635 h 2364509"/>
                <a:gd name="connsiteX20" fmla="*/ 1842311 w 2497282"/>
                <a:gd name="connsiteY20" fmla="*/ 1984393 h 2364509"/>
                <a:gd name="connsiteX21" fmla="*/ 1842311 w 2497282"/>
                <a:gd name="connsiteY21" fmla="*/ 1799217 h 2364509"/>
                <a:gd name="connsiteX22" fmla="*/ 1841500 w 2497282"/>
                <a:gd name="connsiteY22" fmla="*/ 1799217 h 2364509"/>
                <a:gd name="connsiteX23" fmla="*/ 1841500 w 2497282"/>
                <a:gd name="connsiteY23" fmla="*/ 1208198 h 2364509"/>
                <a:gd name="connsiteX24" fmla="*/ 2128405 w 2497282"/>
                <a:gd name="connsiteY24" fmla="*/ 921293 h 2364509"/>
                <a:gd name="connsiteX25" fmla="*/ 2333337 w 2497282"/>
                <a:gd name="connsiteY25" fmla="*/ 921294 h 2364509"/>
                <a:gd name="connsiteX26" fmla="*/ 2333337 w 2497282"/>
                <a:gd name="connsiteY26" fmla="*/ 829399 h 2364509"/>
                <a:gd name="connsiteX27" fmla="*/ 2497282 w 2497282"/>
                <a:gd name="connsiteY27" fmla="*/ 993345 h 2364509"/>
                <a:gd name="connsiteX28" fmla="*/ 2333337 w 2497282"/>
                <a:gd name="connsiteY28" fmla="*/ 1157290 h 2364509"/>
                <a:gd name="connsiteX29" fmla="*/ 2333337 w 2497282"/>
                <a:gd name="connsiteY29" fmla="*/ 1065395 h 2364509"/>
                <a:gd name="connsiteX30" fmla="*/ 2128405 w 2497282"/>
                <a:gd name="connsiteY30" fmla="*/ 1065395 h 2364509"/>
                <a:gd name="connsiteX31" fmla="*/ 1985602 w 2497282"/>
                <a:gd name="connsiteY31" fmla="*/ 1208198 h 2364509"/>
                <a:gd name="connsiteX32" fmla="*/ 1985602 w 2497282"/>
                <a:gd name="connsiteY32" fmla="*/ 1546949 h 2364509"/>
                <a:gd name="connsiteX33" fmla="*/ 1985818 w 2497282"/>
                <a:gd name="connsiteY33" fmla="*/ 1546949 h 2364509"/>
                <a:gd name="connsiteX34" fmla="*/ 1985818 w 2497282"/>
                <a:gd name="connsiteY34" fmla="*/ 2033533 h 2364509"/>
                <a:gd name="connsiteX35" fmla="*/ 1654842 w 2497282"/>
                <a:gd name="connsiteY35" fmla="*/ 2364509 h 2364509"/>
                <a:gd name="connsiteX36" fmla="*/ 330976 w 2497282"/>
                <a:gd name="connsiteY36" fmla="*/ 2364509 h 2364509"/>
                <a:gd name="connsiteX37" fmla="*/ 0 w 2497282"/>
                <a:gd name="connsiteY37" fmla="*/ 2033533 h 2364509"/>
                <a:gd name="connsiteX38" fmla="*/ 0 w 2497282"/>
                <a:gd name="connsiteY38" fmla="*/ 330976 h 2364509"/>
                <a:gd name="connsiteX39" fmla="*/ 330976 w 2497282"/>
                <a:gd name="connsiteY39" fmla="*/ 0 h 236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97282" h="2364509">
                  <a:moveTo>
                    <a:pt x="330976" y="0"/>
                  </a:moveTo>
                  <a:lnTo>
                    <a:pt x="1654842" y="0"/>
                  </a:lnTo>
                  <a:cubicBezTo>
                    <a:pt x="1814786" y="0"/>
                    <a:pt x="1948232" y="113453"/>
                    <a:pt x="1979094" y="264273"/>
                  </a:cubicBezTo>
                  <a:lnTo>
                    <a:pt x="1985963" y="320606"/>
                  </a:lnTo>
                  <a:lnTo>
                    <a:pt x="1985963" y="651813"/>
                  </a:lnTo>
                  <a:cubicBezTo>
                    <a:pt x="1985915" y="652052"/>
                    <a:pt x="1985866" y="652292"/>
                    <a:pt x="1985818" y="652531"/>
                  </a:cubicBezTo>
                  <a:lnTo>
                    <a:pt x="1985818" y="657949"/>
                  </a:lnTo>
                  <a:lnTo>
                    <a:pt x="1984724" y="657949"/>
                  </a:lnTo>
                  <a:lnTo>
                    <a:pt x="1980349" y="679620"/>
                  </a:lnTo>
                  <a:cubicBezTo>
                    <a:pt x="1969504" y="705260"/>
                    <a:pt x="1944116" y="723251"/>
                    <a:pt x="1914525" y="723251"/>
                  </a:cubicBezTo>
                  <a:cubicBezTo>
                    <a:pt x="1884935" y="723251"/>
                    <a:pt x="1859546" y="705260"/>
                    <a:pt x="1848701" y="679620"/>
                  </a:cubicBezTo>
                  <a:lnTo>
                    <a:pt x="1844326" y="657949"/>
                  </a:lnTo>
                  <a:lnTo>
                    <a:pt x="1842311" y="657949"/>
                  </a:lnTo>
                  <a:lnTo>
                    <a:pt x="1842311" y="380114"/>
                  </a:lnTo>
                  <a:cubicBezTo>
                    <a:pt x="1842311" y="264553"/>
                    <a:pt x="1748630" y="170872"/>
                    <a:pt x="1633069" y="170872"/>
                  </a:cubicBezTo>
                  <a:lnTo>
                    <a:pt x="352748" y="170872"/>
                  </a:lnTo>
                  <a:cubicBezTo>
                    <a:pt x="237187" y="170872"/>
                    <a:pt x="143506" y="264553"/>
                    <a:pt x="143506" y="380114"/>
                  </a:cubicBezTo>
                  <a:lnTo>
                    <a:pt x="143506" y="1984393"/>
                  </a:lnTo>
                  <a:cubicBezTo>
                    <a:pt x="143506" y="2099954"/>
                    <a:pt x="237187" y="2193635"/>
                    <a:pt x="352748" y="2193635"/>
                  </a:cubicBezTo>
                  <a:lnTo>
                    <a:pt x="1633069" y="2193635"/>
                  </a:lnTo>
                  <a:cubicBezTo>
                    <a:pt x="1748630" y="2193635"/>
                    <a:pt x="1842311" y="2099954"/>
                    <a:pt x="1842311" y="1984393"/>
                  </a:cubicBezTo>
                  <a:lnTo>
                    <a:pt x="1842311" y="1799217"/>
                  </a:lnTo>
                  <a:lnTo>
                    <a:pt x="1841500" y="1799217"/>
                  </a:lnTo>
                  <a:lnTo>
                    <a:pt x="1841500" y="1208198"/>
                  </a:lnTo>
                  <a:cubicBezTo>
                    <a:pt x="1841500" y="1049745"/>
                    <a:pt x="1969952" y="921293"/>
                    <a:pt x="2128405" y="921293"/>
                  </a:cubicBezTo>
                  <a:lnTo>
                    <a:pt x="2333337" y="921294"/>
                  </a:lnTo>
                  <a:lnTo>
                    <a:pt x="2333337" y="829399"/>
                  </a:lnTo>
                  <a:lnTo>
                    <a:pt x="2497282" y="993345"/>
                  </a:lnTo>
                  <a:lnTo>
                    <a:pt x="2333337" y="1157290"/>
                  </a:lnTo>
                  <a:lnTo>
                    <a:pt x="2333337" y="1065395"/>
                  </a:lnTo>
                  <a:lnTo>
                    <a:pt x="2128405" y="1065395"/>
                  </a:lnTo>
                  <a:cubicBezTo>
                    <a:pt x="2049537" y="1065395"/>
                    <a:pt x="1985602" y="1129330"/>
                    <a:pt x="1985602" y="1208198"/>
                  </a:cubicBezTo>
                  <a:lnTo>
                    <a:pt x="1985602" y="1546949"/>
                  </a:lnTo>
                  <a:lnTo>
                    <a:pt x="1985818" y="1546949"/>
                  </a:lnTo>
                  <a:lnTo>
                    <a:pt x="1985818" y="2033533"/>
                  </a:lnTo>
                  <a:cubicBezTo>
                    <a:pt x="1985818" y="2216326"/>
                    <a:pt x="1837635" y="2364509"/>
                    <a:pt x="1654842" y="2364509"/>
                  </a:cubicBezTo>
                  <a:lnTo>
                    <a:pt x="330976" y="2364509"/>
                  </a:lnTo>
                  <a:cubicBezTo>
                    <a:pt x="148183" y="2364509"/>
                    <a:pt x="0" y="2216326"/>
                    <a:pt x="0" y="2033533"/>
                  </a:cubicBezTo>
                  <a:lnTo>
                    <a:pt x="0" y="330976"/>
                  </a:lnTo>
                  <a:cubicBezTo>
                    <a:pt x="0" y="148183"/>
                    <a:pt x="148183" y="0"/>
                    <a:pt x="33097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Shape 9">
              <a:extLst>
                <a:ext uri="{FF2B5EF4-FFF2-40B4-BE49-F238E27FC236}">
                  <a16:creationId xmlns:a16="http://schemas.microsoft.com/office/drawing/2014/main" id="{4B634112-4C6A-9125-EA30-22F5453E2727}"/>
                </a:ext>
              </a:extLst>
            </p:cNvPr>
            <p:cNvSpPr/>
            <p:nvPr/>
          </p:nvSpPr>
          <p:spPr>
            <a:xfrm>
              <a:off x="6489133" y="1375663"/>
              <a:ext cx="2497282" cy="2364509"/>
            </a:xfrm>
            <a:custGeom>
              <a:avLst/>
              <a:gdLst>
                <a:gd name="connsiteX0" fmla="*/ 330976 w 2497282"/>
                <a:gd name="connsiteY0" fmla="*/ 0 h 2364509"/>
                <a:gd name="connsiteX1" fmla="*/ 1654842 w 2497282"/>
                <a:gd name="connsiteY1" fmla="*/ 0 h 2364509"/>
                <a:gd name="connsiteX2" fmla="*/ 1979094 w 2497282"/>
                <a:gd name="connsiteY2" fmla="*/ 264273 h 2364509"/>
                <a:gd name="connsiteX3" fmla="*/ 1983586 w 2497282"/>
                <a:gd name="connsiteY3" fmla="*/ 308830 h 2364509"/>
                <a:gd name="connsiteX4" fmla="*/ 1985963 w 2497282"/>
                <a:gd name="connsiteY4" fmla="*/ 320606 h 2364509"/>
                <a:gd name="connsiteX5" fmla="*/ 1985963 w 2497282"/>
                <a:gd name="connsiteY5" fmla="*/ 651813 h 2364509"/>
                <a:gd name="connsiteX6" fmla="*/ 1985818 w 2497282"/>
                <a:gd name="connsiteY6" fmla="*/ 652531 h 2364509"/>
                <a:gd name="connsiteX7" fmla="*/ 1985818 w 2497282"/>
                <a:gd name="connsiteY7" fmla="*/ 657949 h 2364509"/>
                <a:gd name="connsiteX8" fmla="*/ 1984724 w 2497282"/>
                <a:gd name="connsiteY8" fmla="*/ 657949 h 2364509"/>
                <a:gd name="connsiteX9" fmla="*/ 1980349 w 2497282"/>
                <a:gd name="connsiteY9" fmla="*/ 679620 h 2364509"/>
                <a:gd name="connsiteX10" fmla="*/ 1914525 w 2497282"/>
                <a:gd name="connsiteY10" fmla="*/ 723251 h 2364509"/>
                <a:gd name="connsiteX11" fmla="*/ 1848701 w 2497282"/>
                <a:gd name="connsiteY11" fmla="*/ 679620 h 2364509"/>
                <a:gd name="connsiteX12" fmla="*/ 1844326 w 2497282"/>
                <a:gd name="connsiteY12" fmla="*/ 657949 h 2364509"/>
                <a:gd name="connsiteX13" fmla="*/ 1842311 w 2497282"/>
                <a:gd name="connsiteY13" fmla="*/ 657949 h 2364509"/>
                <a:gd name="connsiteX14" fmla="*/ 1842311 w 2497282"/>
                <a:gd name="connsiteY14" fmla="*/ 380114 h 2364509"/>
                <a:gd name="connsiteX15" fmla="*/ 1633069 w 2497282"/>
                <a:gd name="connsiteY15" fmla="*/ 170872 h 2364509"/>
                <a:gd name="connsiteX16" fmla="*/ 352748 w 2497282"/>
                <a:gd name="connsiteY16" fmla="*/ 170872 h 2364509"/>
                <a:gd name="connsiteX17" fmla="*/ 143506 w 2497282"/>
                <a:gd name="connsiteY17" fmla="*/ 380114 h 2364509"/>
                <a:gd name="connsiteX18" fmla="*/ 143506 w 2497282"/>
                <a:gd name="connsiteY18" fmla="*/ 1984393 h 2364509"/>
                <a:gd name="connsiteX19" fmla="*/ 352748 w 2497282"/>
                <a:gd name="connsiteY19" fmla="*/ 2193635 h 2364509"/>
                <a:gd name="connsiteX20" fmla="*/ 1633069 w 2497282"/>
                <a:gd name="connsiteY20" fmla="*/ 2193635 h 2364509"/>
                <a:gd name="connsiteX21" fmla="*/ 1842311 w 2497282"/>
                <a:gd name="connsiteY21" fmla="*/ 1984393 h 2364509"/>
                <a:gd name="connsiteX22" fmla="*/ 1842311 w 2497282"/>
                <a:gd name="connsiteY22" fmla="*/ 1799217 h 2364509"/>
                <a:gd name="connsiteX23" fmla="*/ 1841500 w 2497282"/>
                <a:gd name="connsiteY23" fmla="*/ 1799217 h 2364509"/>
                <a:gd name="connsiteX24" fmla="*/ 1841500 w 2497282"/>
                <a:gd name="connsiteY24" fmla="*/ 1208198 h 2364509"/>
                <a:gd name="connsiteX25" fmla="*/ 2128405 w 2497282"/>
                <a:gd name="connsiteY25" fmla="*/ 921293 h 2364509"/>
                <a:gd name="connsiteX26" fmla="*/ 2333337 w 2497282"/>
                <a:gd name="connsiteY26" fmla="*/ 921294 h 2364509"/>
                <a:gd name="connsiteX27" fmla="*/ 2333337 w 2497282"/>
                <a:gd name="connsiteY27" fmla="*/ 829399 h 2364509"/>
                <a:gd name="connsiteX28" fmla="*/ 2497282 w 2497282"/>
                <a:gd name="connsiteY28" fmla="*/ 993345 h 2364509"/>
                <a:gd name="connsiteX29" fmla="*/ 2333337 w 2497282"/>
                <a:gd name="connsiteY29" fmla="*/ 1157290 h 2364509"/>
                <a:gd name="connsiteX30" fmla="*/ 2333337 w 2497282"/>
                <a:gd name="connsiteY30" fmla="*/ 1065395 h 2364509"/>
                <a:gd name="connsiteX31" fmla="*/ 2128405 w 2497282"/>
                <a:gd name="connsiteY31" fmla="*/ 1065395 h 2364509"/>
                <a:gd name="connsiteX32" fmla="*/ 1985602 w 2497282"/>
                <a:gd name="connsiteY32" fmla="*/ 1208198 h 2364509"/>
                <a:gd name="connsiteX33" fmla="*/ 1985602 w 2497282"/>
                <a:gd name="connsiteY33" fmla="*/ 1546949 h 2364509"/>
                <a:gd name="connsiteX34" fmla="*/ 1985818 w 2497282"/>
                <a:gd name="connsiteY34" fmla="*/ 1546949 h 2364509"/>
                <a:gd name="connsiteX35" fmla="*/ 1985818 w 2497282"/>
                <a:gd name="connsiteY35" fmla="*/ 2033533 h 2364509"/>
                <a:gd name="connsiteX36" fmla="*/ 1654842 w 2497282"/>
                <a:gd name="connsiteY36" fmla="*/ 2364509 h 2364509"/>
                <a:gd name="connsiteX37" fmla="*/ 330976 w 2497282"/>
                <a:gd name="connsiteY37" fmla="*/ 2364509 h 2364509"/>
                <a:gd name="connsiteX38" fmla="*/ 0 w 2497282"/>
                <a:gd name="connsiteY38" fmla="*/ 2033533 h 2364509"/>
                <a:gd name="connsiteX39" fmla="*/ 0 w 2497282"/>
                <a:gd name="connsiteY39" fmla="*/ 330976 h 2364509"/>
                <a:gd name="connsiteX40" fmla="*/ 330976 w 2497282"/>
                <a:gd name="connsiteY40" fmla="*/ 0 h 2364509"/>
                <a:gd name="connsiteX0" fmla="*/ 330976 w 2497282"/>
                <a:gd name="connsiteY0" fmla="*/ 0 h 2364509"/>
                <a:gd name="connsiteX1" fmla="*/ 1654842 w 2497282"/>
                <a:gd name="connsiteY1" fmla="*/ 0 h 2364509"/>
                <a:gd name="connsiteX2" fmla="*/ 1979094 w 2497282"/>
                <a:gd name="connsiteY2" fmla="*/ 264273 h 2364509"/>
                <a:gd name="connsiteX3" fmla="*/ 1985963 w 2497282"/>
                <a:gd name="connsiteY3" fmla="*/ 320606 h 2364509"/>
                <a:gd name="connsiteX4" fmla="*/ 1985963 w 2497282"/>
                <a:gd name="connsiteY4" fmla="*/ 651813 h 2364509"/>
                <a:gd name="connsiteX5" fmla="*/ 1985818 w 2497282"/>
                <a:gd name="connsiteY5" fmla="*/ 652531 h 2364509"/>
                <a:gd name="connsiteX6" fmla="*/ 1985818 w 2497282"/>
                <a:gd name="connsiteY6" fmla="*/ 657949 h 2364509"/>
                <a:gd name="connsiteX7" fmla="*/ 1984724 w 2497282"/>
                <a:gd name="connsiteY7" fmla="*/ 657949 h 2364509"/>
                <a:gd name="connsiteX8" fmla="*/ 1980349 w 2497282"/>
                <a:gd name="connsiteY8" fmla="*/ 679620 h 2364509"/>
                <a:gd name="connsiteX9" fmla="*/ 1914525 w 2497282"/>
                <a:gd name="connsiteY9" fmla="*/ 723251 h 2364509"/>
                <a:gd name="connsiteX10" fmla="*/ 1848701 w 2497282"/>
                <a:gd name="connsiteY10" fmla="*/ 679620 h 2364509"/>
                <a:gd name="connsiteX11" fmla="*/ 1844326 w 2497282"/>
                <a:gd name="connsiteY11" fmla="*/ 657949 h 2364509"/>
                <a:gd name="connsiteX12" fmla="*/ 1842311 w 2497282"/>
                <a:gd name="connsiteY12" fmla="*/ 657949 h 2364509"/>
                <a:gd name="connsiteX13" fmla="*/ 1842311 w 2497282"/>
                <a:gd name="connsiteY13" fmla="*/ 380114 h 2364509"/>
                <a:gd name="connsiteX14" fmla="*/ 1633069 w 2497282"/>
                <a:gd name="connsiteY14" fmla="*/ 170872 h 2364509"/>
                <a:gd name="connsiteX15" fmla="*/ 352748 w 2497282"/>
                <a:gd name="connsiteY15" fmla="*/ 170872 h 2364509"/>
                <a:gd name="connsiteX16" fmla="*/ 143506 w 2497282"/>
                <a:gd name="connsiteY16" fmla="*/ 380114 h 2364509"/>
                <a:gd name="connsiteX17" fmla="*/ 143506 w 2497282"/>
                <a:gd name="connsiteY17" fmla="*/ 1984393 h 2364509"/>
                <a:gd name="connsiteX18" fmla="*/ 352748 w 2497282"/>
                <a:gd name="connsiteY18" fmla="*/ 2193635 h 2364509"/>
                <a:gd name="connsiteX19" fmla="*/ 1633069 w 2497282"/>
                <a:gd name="connsiteY19" fmla="*/ 2193635 h 2364509"/>
                <a:gd name="connsiteX20" fmla="*/ 1842311 w 2497282"/>
                <a:gd name="connsiteY20" fmla="*/ 1984393 h 2364509"/>
                <a:gd name="connsiteX21" fmla="*/ 1842311 w 2497282"/>
                <a:gd name="connsiteY21" fmla="*/ 1799217 h 2364509"/>
                <a:gd name="connsiteX22" fmla="*/ 1841500 w 2497282"/>
                <a:gd name="connsiteY22" fmla="*/ 1799217 h 2364509"/>
                <a:gd name="connsiteX23" fmla="*/ 1841500 w 2497282"/>
                <a:gd name="connsiteY23" fmla="*/ 1208198 h 2364509"/>
                <a:gd name="connsiteX24" fmla="*/ 2128405 w 2497282"/>
                <a:gd name="connsiteY24" fmla="*/ 921293 h 2364509"/>
                <a:gd name="connsiteX25" fmla="*/ 2333337 w 2497282"/>
                <a:gd name="connsiteY25" fmla="*/ 921294 h 2364509"/>
                <a:gd name="connsiteX26" fmla="*/ 2333337 w 2497282"/>
                <a:gd name="connsiteY26" fmla="*/ 829399 h 2364509"/>
                <a:gd name="connsiteX27" fmla="*/ 2497282 w 2497282"/>
                <a:gd name="connsiteY27" fmla="*/ 993345 h 2364509"/>
                <a:gd name="connsiteX28" fmla="*/ 2333337 w 2497282"/>
                <a:gd name="connsiteY28" fmla="*/ 1157290 h 2364509"/>
                <a:gd name="connsiteX29" fmla="*/ 2333337 w 2497282"/>
                <a:gd name="connsiteY29" fmla="*/ 1065395 h 2364509"/>
                <a:gd name="connsiteX30" fmla="*/ 2128405 w 2497282"/>
                <a:gd name="connsiteY30" fmla="*/ 1065395 h 2364509"/>
                <a:gd name="connsiteX31" fmla="*/ 1985602 w 2497282"/>
                <a:gd name="connsiteY31" fmla="*/ 1208198 h 2364509"/>
                <a:gd name="connsiteX32" fmla="*/ 1985602 w 2497282"/>
                <a:gd name="connsiteY32" fmla="*/ 1546949 h 2364509"/>
                <a:gd name="connsiteX33" fmla="*/ 1985818 w 2497282"/>
                <a:gd name="connsiteY33" fmla="*/ 1546949 h 2364509"/>
                <a:gd name="connsiteX34" fmla="*/ 1985818 w 2497282"/>
                <a:gd name="connsiteY34" fmla="*/ 2033533 h 2364509"/>
                <a:gd name="connsiteX35" fmla="*/ 1654842 w 2497282"/>
                <a:gd name="connsiteY35" fmla="*/ 2364509 h 2364509"/>
                <a:gd name="connsiteX36" fmla="*/ 330976 w 2497282"/>
                <a:gd name="connsiteY36" fmla="*/ 2364509 h 2364509"/>
                <a:gd name="connsiteX37" fmla="*/ 0 w 2497282"/>
                <a:gd name="connsiteY37" fmla="*/ 2033533 h 2364509"/>
                <a:gd name="connsiteX38" fmla="*/ 0 w 2497282"/>
                <a:gd name="connsiteY38" fmla="*/ 330976 h 2364509"/>
                <a:gd name="connsiteX39" fmla="*/ 330976 w 2497282"/>
                <a:gd name="connsiteY39" fmla="*/ 0 h 236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97282" h="2364509">
                  <a:moveTo>
                    <a:pt x="330976" y="0"/>
                  </a:moveTo>
                  <a:lnTo>
                    <a:pt x="1654842" y="0"/>
                  </a:lnTo>
                  <a:cubicBezTo>
                    <a:pt x="1814786" y="0"/>
                    <a:pt x="1948232" y="113453"/>
                    <a:pt x="1979094" y="264273"/>
                  </a:cubicBezTo>
                  <a:lnTo>
                    <a:pt x="1985963" y="320606"/>
                  </a:lnTo>
                  <a:lnTo>
                    <a:pt x="1985963" y="651813"/>
                  </a:lnTo>
                  <a:cubicBezTo>
                    <a:pt x="1985915" y="652052"/>
                    <a:pt x="1985866" y="652292"/>
                    <a:pt x="1985818" y="652531"/>
                  </a:cubicBezTo>
                  <a:lnTo>
                    <a:pt x="1985818" y="657949"/>
                  </a:lnTo>
                  <a:lnTo>
                    <a:pt x="1984724" y="657949"/>
                  </a:lnTo>
                  <a:lnTo>
                    <a:pt x="1980349" y="679620"/>
                  </a:lnTo>
                  <a:cubicBezTo>
                    <a:pt x="1969504" y="705260"/>
                    <a:pt x="1944116" y="723251"/>
                    <a:pt x="1914525" y="723251"/>
                  </a:cubicBezTo>
                  <a:cubicBezTo>
                    <a:pt x="1884935" y="723251"/>
                    <a:pt x="1859546" y="705260"/>
                    <a:pt x="1848701" y="679620"/>
                  </a:cubicBezTo>
                  <a:lnTo>
                    <a:pt x="1844326" y="657949"/>
                  </a:lnTo>
                  <a:lnTo>
                    <a:pt x="1842311" y="657949"/>
                  </a:lnTo>
                  <a:lnTo>
                    <a:pt x="1842311" y="380114"/>
                  </a:lnTo>
                  <a:cubicBezTo>
                    <a:pt x="1842311" y="264553"/>
                    <a:pt x="1748630" y="170872"/>
                    <a:pt x="1633069" y="170872"/>
                  </a:cubicBezTo>
                  <a:lnTo>
                    <a:pt x="352748" y="170872"/>
                  </a:lnTo>
                  <a:cubicBezTo>
                    <a:pt x="237187" y="170872"/>
                    <a:pt x="143506" y="264553"/>
                    <a:pt x="143506" y="380114"/>
                  </a:cubicBezTo>
                  <a:lnTo>
                    <a:pt x="143506" y="1984393"/>
                  </a:lnTo>
                  <a:cubicBezTo>
                    <a:pt x="143506" y="2099954"/>
                    <a:pt x="237187" y="2193635"/>
                    <a:pt x="352748" y="2193635"/>
                  </a:cubicBezTo>
                  <a:lnTo>
                    <a:pt x="1633069" y="2193635"/>
                  </a:lnTo>
                  <a:cubicBezTo>
                    <a:pt x="1748630" y="2193635"/>
                    <a:pt x="1842311" y="2099954"/>
                    <a:pt x="1842311" y="1984393"/>
                  </a:cubicBezTo>
                  <a:lnTo>
                    <a:pt x="1842311" y="1799217"/>
                  </a:lnTo>
                  <a:lnTo>
                    <a:pt x="1841500" y="1799217"/>
                  </a:lnTo>
                  <a:lnTo>
                    <a:pt x="1841500" y="1208198"/>
                  </a:lnTo>
                  <a:cubicBezTo>
                    <a:pt x="1841500" y="1049745"/>
                    <a:pt x="1969952" y="921293"/>
                    <a:pt x="2128405" y="921293"/>
                  </a:cubicBezTo>
                  <a:lnTo>
                    <a:pt x="2333337" y="921294"/>
                  </a:lnTo>
                  <a:lnTo>
                    <a:pt x="2333337" y="829399"/>
                  </a:lnTo>
                  <a:lnTo>
                    <a:pt x="2497282" y="993345"/>
                  </a:lnTo>
                  <a:lnTo>
                    <a:pt x="2333337" y="1157290"/>
                  </a:lnTo>
                  <a:lnTo>
                    <a:pt x="2333337" y="1065395"/>
                  </a:lnTo>
                  <a:lnTo>
                    <a:pt x="2128405" y="1065395"/>
                  </a:lnTo>
                  <a:cubicBezTo>
                    <a:pt x="2049537" y="1065395"/>
                    <a:pt x="1985602" y="1129330"/>
                    <a:pt x="1985602" y="1208198"/>
                  </a:cubicBezTo>
                  <a:lnTo>
                    <a:pt x="1985602" y="1546949"/>
                  </a:lnTo>
                  <a:lnTo>
                    <a:pt x="1985818" y="1546949"/>
                  </a:lnTo>
                  <a:lnTo>
                    <a:pt x="1985818" y="2033533"/>
                  </a:lnTo>
                  <a:cubicBezTo>
                    <a:pt x="1985818" y="2216326"/>
                    <a:pt x="1837635" y="2364509"/>
                    <a:pt x="1654842" y="2364509"/>
                  </a:cubicBezTo>
                  <a:lnTo>
                    <a:pt x="330976" y="2364509"/>
                  </a:lnTo>
                  <a:cubicBezTo>
                    <a:pt x="148183" y="2364509"/>
                    <a:pt x="0" y="2216326"/>
                    <a:pt x="0" y="2033533"/>
                  </a:cubicBezTo>
                  <a:lnTo>
                    <a:pt x="0" y="330976"/>
                  </a:lnTo>
                  <a:cubicBezTo>
                    <a:pt x="0" y="148183"/>
                    <a:pt x="148183" y="0"/>
                    <a:pt x="33097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7" name="Group 31">
            <a:extLst>
              <a:ext uri="{FF2B5EF4-FFF2-40B4-BE49-F238E27FC236}">
                <a16:creationId xmlns:a16="http://schemas.microsoft.com/office/drawing/2014/main" id="{9ADA8911-CCD6-7693-603F-976FA8558916}"/>
              </a:ext>
            </a:extLst>
          </p:cNvPr>
          <p:cNvGrpSpPr/>
          <p:nvPr/>
        </p:nvGrpSpPr>
        <p:grpSpPr>
          <a:xfrm>
            <a:off x="908648" y="4572417"/>
            <a:ext cx="1992415" cy="1228597"/>
            <a:chOff x="332936" y="2381545"/>
            <a:chExt cx="2937088" cy="1228597"/>
          </a:xfrm>
        </p:grpSpPr>
        <p:sp>
          <p:nvSpPr>
            <p:cNvPr id="48" name="TextBox 32">
              <a:extLst>
                <a:ext uri="{FF2B5EF4-FFF2-40B4-BE49-F238E27FC236}">
                  <a16:creationId xmlns:a16="http://schemas.microsoft.com/office/drawing/2014/main" id="{84F83D2B-0F9B-B415-833D-13AF536AA04B}"/>
                </a:ext>
              </a:extLst>
            </p:cNvPr>
            <p:cNvSpPr txBox="1"/>
            <p:nvPr/>
          </p:nvSpPr>
          <p:spPr>
            <a:xfrm>
              <a:off x="332936" y="2381545"/>
              <a:ext cx="2937088" cy="707886"/>
            </a:xfrm>
            <a:prstGeom prst="rect">
              <a:avLst/>
            </a:prstGeom>
            <a:noFill/>
          </p:spPr>
          <p:txBody>
            <a:bodyPr wrap="square" lIns="0" rIns="0" rtlCol="0" anchor="b">
              <a:spAutoFit/>
            </a:bodyPr>
            <a:lstStyle/>
            <a:p>
              <a:pPr algn="ctr"/>
              <a:r>
                <a:rPr lang="en-US" sz="2000" b="1" dirty="0">
                  <a:solidFill>
                    <a:schemeClr val="bg1"/>
                  </a:solidFill>
                </a:rPr>
                <a:t>Une </a:t>
              </a:r>
              <a:r>
                <a:rPr lang="en-US" sz="2000" b="1" dirty="0" err="1">
                  <a:solidFill>
                    <a:schemeClr val="bg1"/>
                  </a:solidFill>
                </a:rPr>
                <a:t>plateforme</a:t>
              </a:r>
              <a:r>
                <a:rPr lang="en-US" sz="2000" b="1" dirty="0">
                  <a:solidFill>
                    <a:schemeClr val="bg1"/>
                  </a:solidFill>
                </a:rPr>
                <a:t> 100% </a:t>
              </a:r>
              <a:r>
                <a:rPr lang="en-US" sz="2000" b="1" dirty="0" err="1">
                  <a:solidFill>
                    <a:schemeClr val="bg1"/>
                  </a:solidFill>
                </a:rPr>
                <a:t>tunisienne</a:t>
              </a:r>
              <a:endParaRPr lang="en-US" sz="2000" b="1" dirty="0">
                <a:solidFill>
                  <a:schemeClr val="bg1"/>
                </a:solidFill>
              </a:endParaRPr>
            </a:p>
          </p:txBody>
        </p:sp>
        <p:sp>
          <p:nvSpPr>
            <p:cNvPr id="49" name="TextBox 33">
              <a:extLst>
                <a:ext uri="{FF2B5EF4-FFF2-40B4-BE49-F238E27FC236}">
                  <a16:creationId xmlns:a16="http://schemas.microsoft.com/office/drawing/2014/main" id="{2758C2F2-4259-B762-218D-3CC25C33FBCA}"/>
                </a:ext>
              </a:extLst>
            </p:cNvPr>
            <p:cNvSpPr txBox="1"/>
            <p:nvPr/>
          </p:nvSpPr>
          <p:spPr>
            <a:xfrm>
              <a:off x="340731" y="3086922"/>
              <a:ext cx="2929293" cy="523220"/>
            </a:xfrm>
            <a:prstGeom prst="rect">
              <a:avLst/>
            </a:prstGeom>
            <a:noFill/>
          </p:spPr>
          <p:txBody>
            <a:bodyPr wrap="square" lIns="0" rIns="0" rtlCol="0" anchor="t">
              <a:spAutoFit/>
            </a:bodyPr>
            <a:lstStyle/>
            <a:p>
              <a:pPr algn="just"/>
              <a:r>
                <a:rPr lang="fr-FR" sz="1400" dirty="0">
                  <a:solidFill>
                    <a:schemeClr val="bg1"/>
                  </a:solidFill>
                </a:rPr>
                <a:t>L’application locale pour vos loisirs balnéaires</a:t>
              </a:r>
              <a:endParaRPr lang="en-US" sz="1400" dirty="0">
                <a:solidFill>
                  <a:schemeClr val="bg1"/>
                </a:solidFill>
              </a:endParaRPr>
            </a:p>
          </p:txBody>
        </p:sp>
      </p:grpSp>
      <p:grpSp>
        <p:nvGrpSpPr>
          <p:cNvPr id="50" name="Group 34">
            <a:extLst>
              <a:ext uri="{FF2B5EF4-FFF2-40B4-BE49-F238E27FC236}">
                <a16:creationId xmlns:a16="http://schemas.microsoft.com/office/drawing/2014/main" id="{68359AC5-3B51-278A-21B9-953F0FF4C000}"/>
              </a:ext>
            </a:extLst>
          </p:cNvPr>
          <p:cNvGrpSpPr/>
          <p:nvPr/>
        </p:nvGrpSpPr>
        <p:grpSpPr>
          <a:xfrm>
            <a:off x="3682254" y="4623771"/>
            <a:ext cx="1992415" cy="1597929"/>
            <a:chOff x="332936" y="2443100"/>
            <a:chExt cx="2937088" cy="1597929"/>
          </a:xfrm>
        </p:grpSpPr>
        <p:sp>
          <p:nvSpPr>
            <p:cNvPr id="51" name="TextBox 35">
              <a:extLst>
                <a:ext uri="{FF2B5EF4-FFF2-40B4-BE49-F238E27FC236}">
                  <a16:creationId xmlns:a16="http://schemas.microsoft.com/office/drawing/2014/main" id="{491D6A48-B916-A86E-67BB-F6E2792687ED}"/>
                </a:ext>
              </a:extLst>
            </p:cNvPr>
            <p:cNvSpPr txBox="1"/>
            <p:nvPr/>
          </p:nvSpPr>
          <p:spPr>
            <a:xfrm>
              <a:off x="332936" y="2443100"/>
              <a:ext cx="2937088" cy="646331"/>
            </a:xfrm>
            <a:prstGeom prst="rect">
              <a:avLst/>
            </a:prstGeom>
            <a:noFill/>
          </p:spPr>
          <p:txBody>
            <a:bodyPr wrap="square" lIns="0" rIns="0" rtlCol="0" anchor="b">
              <a:spAutoFit/>
            </a:bodyPr>
            <a:lstStyle/>
            <a:p>
              <a:pPr algn="ctr"/>
              <a:r>
                <a:rPr lang="en-US" b="1" dirty="0">
                  <a:solidFill>
                    <a:schemeClr val="bg1"/>
                  </a:solidFill>
                </a:rPr>
                <a:t>Une </a:t>
              </a:r>
              <a:r>
                <a:rPr lang="en-US" b="1" dirty="0" err="1">
                  <a:solidFill>
                    <a:schemeClr val="bg1"/>
                  </a:solidFill>
                </a:rPr>
                <a:t>spécialisation</a:t>
              </a:r>
              <a:r>
                <a:rPr lang="en-US" b="1" dirty="0">
                  <a:solidFill>
                    <a:schemeClr val="bg1"/>
                  </a:solidFill>
                </a:rPr>
                <a:t> unique</a:t>
              </a:r>
            </a:p>
          </p:txBody>
        </p:sp>
        <p:sp>
          <p:nvSpPr>
            <p:cNvPr id="52" name="TextBox 36">
              <a:extLst>
                <a:ext uri="{FF2B5EF4-FFF2-40B4-BE49-F238E27FC236}">
                  <a16:creationId xmlns:a16="http://schemas.microsoft.com/office/drawing/2014/main" id="{366C3BD7-D080-C59F-39C0-343276FB3A7B}"/>
                </a:ext>
              </a:extLst>
            </p:cNvPr>
            <p:cNvSpPr txBox="1"/>
            <p:nvPr/>
          </p:nvSpPr>
          <p:spPr>
            <a:xfrm>
              <a:off x="340731" y="3086922"/>
              <a:ext cx="2929293" cy="954107"/>
            </a:xfrm>
            <a:prstGeom prst="rect">
              <a:avLst/>
            </a:prstGeom>
            <a:noFill/>
          </p:spPr>
          <p:txBody>
            <a:bodyPr wrap="square" lIns="0" rIns="0" rtlCol="0" anchor="t">
              <a:spAutoFit/>
            </a:bodyPr>
            <a:lstStyle/>
            <a:p>
              <a:pPr algn="just"/>
              <a:r>
                <a:rPr lang="fr-FR" sz="1400" dirty="0">
                  <a:solidFill>
                    <a:schemeClr val="bg1"/>
                  </a:solidFill>
                </a:rPr>
                <a:t>Pas de concurrence directe avec les géants du tourisme mondial (Airbnb, </a:t>
              </a:r>
              <a:r>
                <a:rPr lang="fr-FR" sz="1400" dirty="0" err="1">
                  <a:solidFill>
                    <a:schemeClr val="bg1"/>
                  </a:solidFill>
                </a:rPr>
                <a:t>Booking</a:t>
              </a:r>
              <a:r>
                <a:rPr lang="fr-FR" sz="1400" dirty="0">
                  <a:solidFill>
                    <a:schemeClr val="bg1"/>
                  </a:solidFill>
                </a:rPr>
                <a:t>).</a:t>
              </a:r>
              <a:endParaRPr lang="en-US" sz="1400" dirty="0">
                <a:solidFill>
                  <a:schemeClr val="bg1"/>
                </a:solidFill>
              </a:endParaRPr>
            </a:p>
          </p:txBody>
        </p:sp>
      </p:grpSp>
      <p:grpSp>
        <p:nvGrpSpPr>
          <p:cNvPr id="53" name="Group 37">
            <a:extLst>
              <a:ext uri="{FF2B5EF4-FFF2-40B4-BE49-F238E27FC236}">
                <a16:creationId xmlns:a16="http://schemas.microsoft.com/office/drawing/2014/main" id="{01E27F81-A276-4574-A5C0-28DA2F567B5E}"/>
              </a:ext>
            </a:extLst>
          </p:cNvPr>
          <p:cNvGrpSpPr/>
          <p:nvPr/>
        </p:nvGrpSpPr>
        <p:grpSpPr>
          <a:xfrm>
            <a:off x="6450572" y="4562216"/>
            <a:ext cx="1992415" cy="1444041"/>
            <a:chOff x="332936" y="2381545"/>
            <a:chExt cx="2937088" cy="1444041"/>
          </a:xfrm>
        </p:grpSpPr>
        <p:sp>
          <p:nvSpPr>
            <p:cNvPr id="54" name="TextBox 38">
              <a:extLst>
                <a:ext uri="{FF2B5EF4-FFF2-40B4-BE49-F238E27FC236}">
                  <a16:creationId xmlns:a16="http://schemas.microsoft.com/office/drawing/2014/main" id="{FFAC8078-63C5-B748-E1A3-BB1E7897D64D}"/>
                </a:ext>
              </a:extLst>
            </p:cNvPr>
            <p:cNvSpPr txBox="1"/>
            <p:nvPr/>
          </p:nvSpPr>
          <p:spPr>
            <a:xfrm>
              <a:off x="332936" y="2381545"/>
              <a:ext cx="2937088" cy="707886"/>
            </a:xfrm>
            <a:prstGeom prst="rect">
              <a:avLst/>
            </a:prstGeom>
            <a:noFill/>
          </p:spPr>
          <p:txBody>
            <a:bodyPr wrap="square" lIns="0" rIns="0" rtlCol="0" anchor="b">
              <a:spAutoFit/>
            </a:bodyPr>
            <a:lstStyle/>
            <a:p>
              <a:pPr algn="ctr"/>
              <a:r>
                <a:rPr lang="fr-FR" sz="2000" b="1" dirty="0">
                  <a:solidFill>
                    <a:schemeClr val="bg1"/>
                  </a:solidFill>
                </a:rPr>
                <a:t>Une expérience simple et rapide</a:t>
              </a:r>
              <a:endParaRPr lang="en-US" sz="2000" b="1" dirty="0">
                <a:solidFill>
                  <a:schemeClr val="bg1"/>
                </a:solidFill>
              </a:endParaRPr>
            </a:p>
          </p:txBody>
        </p:sp>
        <p:sp>
          <p:nvSpPr>
            <p:cNvPr id="55" name="TextBox 39">
              <a:extLst>
                <a:ext uri="{FF2B5EF4-FFF2-40B4-BE49-F238E27FC236}">
                  <a16:creationId xmlns:a16="http://schemas.microsoft.com/office/drawing/2014/main" id="{30E4EA46-3C6F-903D-CD32-82666E9BB132}"/>
                </a:ext>
              </a:extLst>
            </p:cNvPr>
            <p:cNvSpPr txBox="1"/>
            <p:nvPr/>
          </p:nvSpPr>
          <p:spPr>
            <a:xfrm>
              <a:off x="340731" y="3086922"/>
              <a:ext cx="2929293" cy="738664"/>
            </a:xfrm>
            <a:prstGeom prst="rect">
              <a:avLst/>
            </a:prstGeom>
            <a:noFill/>
          </p:spPr>
          <p:txBody>
            <a:bodyPr wrap="square" lIns="0" rIns="0" rtlCol="0" anchor="t">
              <a:spAutoFit/>
            </a:bodyPr>
            <a:lstStyle/>
            <a:p>
              <a:pPr algn="just"/>
              <a:r>
                <a:rPr lang="fr-FR" sz="1400" dirty="0">
                  <a:solidFill>
                    <a:schemeClr val="bg1"/>
                  </a:solidFill>
                </a:rPr>
                <a:t>Réservations en quelques clics, en dinars ,application  multilingue</a:t>
              </a:r>
              <a:endParaRPr lang="en-US" sz="1400" dirty="0">
                <a:solidFill>
                  <a:schemeClr val="bg1"/>
                </a:solidFill>
              </a:endParaRPr>
            </a:p>
          </p:txBody>
        </p:sp>
      </p:grpSp>
      <p:grpSp>
        <p:nvGrpSpPr>
          <p:cNvPr id="56" name="Group 40">
            <a:extLst>
              <a:ext uri="{FF2B5EF4-FFF2-40B4-BE49-F238E27FC236}">
                <a16:creationId xmlns:a16="http://schemas.microsoft.com/office/drawing/2014/main" id="{8124D284-F4C0-A1B6-3ABB-DD27F0ED3A83}"/>
              </a:ext>
            </a:extLst>
          </p:cNvPr>
          <p:cNvGrpSpPr/>
          <p:nvPr/>
        </p:nvGrpSpPr>
        <p:grpSpPr>
          <a:xfrm>
            <a:off x="9227401" y="4667069"/>
            <a:ext cx="1992415" cy="1136265"/>
            <a:chOff x="332936" y="2689321"/>
            <a:chExt cx="2937088" cy="1136265"/>
          </a:xfrm>
        </p:grpSpPr>
        <p:sp>
          <p:nvSpPr>
            <p:cNvPr id="57" name="TextBox 41">
              <a:extLst>
                <a:ext uri="{FF2B5EF4-FFF2-40B4-BE49-F238E27FC236}">
                  <a16:creationId xmlns:a16="http://schemas.microsoft.com/office/drawing/2014/main" id="{3C905E46-8F2F-C2BF-8486-0F6F837BE95C}"/>
                </a:ext>
              </a:extLst>
            </p:cNvPr>
            <p:cNvSpPr txBox="1"/>
            <p:nvPr/>
          </p:nvSpPr>
          <p:spPr>
            <a:xfrm>
              <a:off x="332936" y="2689321"/>
              <a:ext cx="2937088" cy="400110"/>
            </a:xfrm>
            <a:prstGeom prst="rect">
              <a:avLst/>
            </a:prstGeom>
            <a:noFill/>
          </p:spPr>
          <p:txBody>
            <a:bodyPr wrap="square" lIns="0" rIns="0" rtlCol="0" anchor="b">
              <a:spAutoFit/>
            </a:bodyPr>
            <a:lstStyle/>
            <a:p>
              <a:pPr algn="ctr"/>
              <a:r>
                <a:rPr lang="en-US" sz="2000" b="1" dirty="0">
                  <a:solidFill>
                    <a:schemeClr val="bg1"/>
                  </a:solidFill>
                </a:rPr>
                <a:t>Notre </a:t>
              </a:r>
              <a:r>
                <a:rPr lang="en-US" sz="2000" b="1" dirty="0" err="1">
                  <a:solidFill>
                    <a:schemeClr val="bg1"/>
                  </a:solidFill>
                </a:rPr>
                <a:t>objectif</a:t>
              </a:r>
              <a:endParaRPr lang="en-US" sz="2000" b="1" dirty="0">
                <a:solidFill>
                  <a:schemeClr val="bg1"/>
                </a:solidFill>
              </a:endParaRPr>
            </a:p>
          </p:txBody>
        </p:sp>
        <p:sp>
          <p:nvSpPr>
            <p:cNvPr id="58" name="TextBox 42">
              <a:extLst>
                <a:ext uri="{FF2B5EF4-FFF2-40B4-BE49-F238E27FC236}">
                  <a16:creationId xmlns:a16="http://schemas.microsoft.com/office/drawing/2014/main" id="{7ECF31C0-5E98-C212-A5F3-68A519BE78A7}"/>
                </a:ext>
              </a:extLst>
            </p:cNvPr>
            <p:cNvSpPr txBox="1"/>
            <p:nvPr/>
          </p:nvSpPr>
          <p:spPr>
            <a:xfrm>
              <a:off x="340731" y="3086922"/>
              <a:ext cx="2929293" cy="738664"/>
            </a:xfrm>
            <a:prstGeom prst="rect">
              <a:avLst/>
            </a:prstGeom>
            <a:noFill/>
          </p:spPr>
          <p:txBody>
            <a:bodyPr wrap="square" lIns="0" rIns="0" rtlCol="0" anchor="t">
              <a:spAutoFit/>
            </a:bodyPr>
            <a:lstStyle/>
            <a:p>
              <a:pPr algn="just"/>
              <a:r>
                <a:rPr lang="fr-FR" sz="1400" dirty="0">
                  <a:solidFill>
                    <a:schemeClr val="bg1"/>
                  </a:solidFill>
                </a:rPr>
                <a:t>Devenir la référence des loisirs balnéaires en Tunisie.</a:t>
              </a:r>
              <a:endParaRPr lang="en-US" sz="1400" dirty="0">
                <a:solidFill>
                  <a:schemeClr val="bg1"/>
                </a:solidFill>
              </a:endParaRPr>
            </a:p>
          </p:txBody>
        </p:sp>
      </p:grpSp>
      <p:pic>
        <p:nvPicPr>
          <p:cNvPr id="3" name="Picture 2">
            <a:extLst>
              <a:ext uri="{FF2B5EF4-FFF2-40B4-BE49-F238E27FC236}">
                <a16:creationId xmlns:a16="http://schemas.microsoft.com/office/drawing/2014/main" id="{4739B694-4058-4312-9079-CEC61273FAEA}"/>
              </a:ext>
            </a:extLst>
          </p:cNvPr>
          <p:cNvPicPr>
            <a:picLocks noChangeAspect="1"/>
          </p:cNvPicPr>
          <p:nvPr/>
        </p:nvPicPr>
        <p:blipFill>
          <a:blip r:embed="rId5"/>
          <a:stretch>
            <a:fillRect/>
          </a:stretch>
        </p:blipFill>
        <p:spPr>
          <a:xfrm>
            <a:off x="1371651" y="2749539"/>
            <a:ext cx="1241807" cy="1241807"/>
          </a:xfrm>
          <a:prstGeom prst="rect">
            <a:avLst/>
          </a:prstGeom>
        </p:spPr>
      </p:pic>
      <p:pic>
        <p:nvPicPr>
          <p:cNvPr id="8" name="Picture 7">
            <a:extLst>
              <a:ext uri="{FF2B5EF4-FFF2-40B4-BE49-F238E27FC236}">
                <a16:creationId xmlns:a16="http://schemas.microsoft.com/office/drawing/2014/main" id="{A66E914E-B261-4995-9F2C-611B29407B70}"/>
              </a:ext>
            </a:extLst>
          </p:cNvPr>
          <p:cNvPicPr>
            <a:picLocks noChangeAspect="1"/>
          </p:cNvPicPr>
          <p:nvPr/>
        </p:nvPicPr>
        <p:blipFill>
          <a:blip r:embed="rId6"/>
          <a:stretch>
            <a:fillRect/>
          </a:stretch>
        </p:blipFill>
        <p:spPr>
          <a:xfrm>
            <a:off x="3868092" y="2597681"/>
            <a:ext cx="1571064" cy="1571064"/>
          </a:xfrm>
          <a:prstGeom prst="rect">
            <a:avLst/>
          </a:prstGeom>
        </p:spPr>
      </p:pic>
      <p:pic>
        <p:nvPicPr>
          <p:cNvPr id="11" name="Picture 10">
            <a:extLst>
              <a:ext uri="{FF2B5EF4-FFF2-40B4-BE49-F238E27FC236}">
                <a16:creationId xmlns:a16="http://schemas.microsoft.com/office/drawing/2014/main" id="{07424B9A-2A79-40B2-A12C-73DDC5E997AA}"/>
              </a:ext>
            </a:extLst>
          </p:cNvPr>
          <p:cNvPicPr>
            <a:picLocks noChangeAspect="1"/>
          </p:cNvPicPr>
          <p:nvPr/>
        </p:nvPicPr>
        <p:blipFill>
          <a:blip r:embed="rId7"/>
          <a:stretch>
            <a:fillRect/>
          </a:stretch>
        </p:blipFill>
        <p:spPr>
          <a:xfrm>
            <a:off x="6657355" y="2577353"/>
            <a:ext cx="1703294" cy="1703294"/>
          </a:xfrm>
          <a:prstGeom prst="rect">
            <a:avLst/>
          </a:prstGeom>
        </p:spPr>
      </p:pic>
      <p:pic>
        <p:nvPicPr>
          <p:cNvPr id="12" name="Picture 11">
            <a:extLst>
              <a:ext uri="{FF2B5EF4-FFF2-40B4-BE49-F238E27FC236}">
                <a16:creationId xmlns:a16="http://schemas.microsoft.com/office/drawing/2014/main" id="{2F322E40-9B5C-4615-B473-4D7BE4F394B5}"/>
              </a:ext>
            </a:extLst>
          </p:cNvPr>
          <p:cNvPicPr>
            <a:picLocks noChangeAspect="1"/>
          </p:cNvPicPr>
          <p:nvPr/>
        </p:nvPicPr>
        <p:blipFill>
          <a:blip r:embed="rId8"/>
          <a:stretch>
            <a:fillRect/>
          </a:stretch>
        </p:blipFill>
        <p:spPr>
          <a:xfrm>
            <a:off x="9419025" y="2559580"/>
            <a:ext cx="1609165" cy="1609165"/>
          </a:xfrm>
          <a:prstGeom prst="rect">
            <a:avLst/>
          </a:prstGeom>
        </p:spPr>
      </p:pic>
      <p:sp>
        <p:nvSpPr>
          <p:cNvPr id="13" name="Rectangle 12">
            <a:extLst>
              <a:ext uri="{FF2B5EF4-FFF2-40B4-BE49-F238E27FC236}">
                <a16:creationId xmlns:a16="http://schemas.microsoft.com/office/drawing/2014/main" id="{118EC53D-4E01-4382-9806-A6935AF57BDD}"/>
              </a:ext>
            </a:extLst>
          </p:cNvPr>
          <p:cNvSpPr/>
          <p:nvPr/>
        </p:nvSpPr>
        <p:spPr>
          <a:xfrm>
            <a:off x="11474648" y="6221700"/>
            <a:ext cx="601447" cy="584775"/>
          </a:xfrm>
          <a:prstGeom prst="rect">
            <a:avLst/>
          </a:prstGeom>
        </p:spPr>
        <p:txBody>
          <a:bodyPr wrap="none">
            <a:spAutoFit/>
          </a:bodyPr>
          <a:lstStyle/>
          <a:p>
            <a:r>
              <a:rPr lang="en-US"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14</a:t>
            </a:r>
            <a:endParaRPr lang="fr-TN" sz="3200" dirty="0"/>
          </a:p>
        </p:txBody>
      </p:sp>
    </p:spTree>
    <p:extLst>
      <p:ext uri="{BB962C8B-B14F-4D97-AF65-F5344CB8AC3E}">
        <p14:creationId xmlns:p14="http://schemas.microsoft.com/office/powerpoint/2010/main" val="157338810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70A75-0841-BDB1-8319-CFAF2D812AE0}"/>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4458F65B-A00F-DA5D-6F38-244F957815D3}"/>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cxnSp>
        <p:nvCxnSpPr>
          <p:cNvPr id="10" name="Straight Connector 9">
            <a:extLst>
              <a:ext uri="{FF2B5EF4-FFF2-40B4-BE49-F238E27FC236}">
                <a16:creationId xmlns:a16="http://schemas.microsoft.com/office/drawing/2014/main" id="{DCD92251-879E-4BC4-8C8F-D8ED1E669265}"/>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5" name="!!model">
            <a:extLst>
              <a:ext uri="{FF2B5EF4-FFF2-40B4-BE49-F238E27FC236}">
                <a16:creationId xmlns:a16="http://schemas.microsoft.com/office/drawing/2014/main" id="{EDFCB7A3-A67B-BC22-9371-2403403EBE93}"/>
              </a:ext>
            </a:extLst>
          </p:cNvPr>
          <p:cNvGrpSpPr/>
          <p:nvPr/>
        </p:nvGrpSpPr>
        <p:grpSpPr>
          <a:xfrm>
            <a:off x="5842207" y="369986"/>
            <a:ext cx="507586" cy="507586"/>
            <a:chOff x="5832785" y="1868829"/>
            <a:chExt cx="507586" cy="507586"/>
          </a:xfrm>
        </p:grpSpPr>
        <p:sp>
          <p:nvSpPr>
            <p:cNvPr id="26" name="Oval 25">
              <a:extLst>
                <a:ext uri="{FF2B5EF4-FFF2-40B4-BE49-F238E27FC236}">
                  <a16:creationId xmlns:a16="http://schemas.microsoft.com/office/drawing/2014/main" id="{AD45D952-64C0-69FA-7003-C4A4B87E7EA7}"/>
                </a:ext>
              </a:extLst>
            </p:cNvPr>
            <p:cNvSpPr/>
            <p:nvPr/>
          </p:nvSpPr>
          <p:spPr>
            <a:xfrm>
              <a:off x="5832785" y="1868829"/>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7" name="Graphic 26">
              <a:extLst>
                <a:ext uri="{FF2B5EF4-FFF2-40B4-BE49-F238E27FC236}">
                  <a16:creationId xmlns:a16="http://schemas.microsoft.com/office/drawing/2014/main" id="{EC4D53A2-5938-0342-0AA6-B1DD127C0A2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60578" y="1996622"/>
              <a:ext cx="252000" cy="252000"/>
            </a:xfrm>
            <a:prstGeom prst="rect">
              <a:avLst/>
            </a:prstGeom>
          </p:spPr>
        </p:pic>
      </p:grpSp>
      <p:sp>
        <p:nvSpPr>
          <p:cNvPr id="21" name="TextBox 20">
            <a:extLst>
              <a:ext uri="{FF2B5EF4-FFF2-40B4-BE49-F238E27FC236}">
                <a16:creationId xmlns:a16="http://schemas.microsoft.com/office/drawing/2014/main" id="{877923A8-2C1F-AD5D-1F0B-AAF1288E6AA8}"/>
              </a:ext>
            </a:extLst>
          </p:cNvPr>
          <p:cNvSpPr txBox="1"/>
          <p:nvPr/>
        </p:nvSpPr>
        <p:spPr>
          <a:xfrm>
            <a:off x="234546" y="1056986"/>
            <a:ext cx="5328053" cy="1030410"/>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800" dirty="0"/>
              <a:t>Plan marketing opérationnel (8P)</a:t>
            </a:r>
            <a:endParaRPr lang="en-GB" sz="4800" dirty="0"/>
          </a:p>
        </p:txBody>
      </p:sp>
      <p:sp>
        <p:nvSpPr>
          <p:cNvPr id="4" name="TextBox 1">
            <a:extLst>
              <a:ext uri="{FF2B5EF4-FFF2-40B4-BE49-F238E27FC236}">
                <a16:creationId xmlns:a16="http://schemas.microsoft.com/office/drawing/2014/main" id="{4EACFA5A-9916-F8C4-C14E-7F08B342517C}"/>
              </a:ext>
            </a:extLst>
          </p:cNvPr>
          <p:cNvSpPr txBox="1"/>
          <p:nvPr/>
        </p:nvSpPr>
        <p:spPr>
          <a:xfrm>
            <a:off x="908648" y="407551"/>
            <a:ext cx="1239122"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Commerciale</a:t>
            </a:r>
          </a:p>
        </p:txBody>
      </p:sp>
      <p:grpSp>
        <p:nvGrpSpPr>
          <p:cNvPr id="20" name="Group 67">
            <a:extLst>
              <a:ext uri="{FF2B5EF4-FFF2-40B4-BE49-F238E27FC236}">
                <a16:creationId xmlns:a16="http://schemas.microsoft.com/office/drawing/2014/main" id="{6EEA4612-2A83-6BE1-EC05-8770BF64F40F}"/>
              </a:ext>
            </a:extLst>
          </p:cNvPr>
          <p:cNvGrpSpPr/>
          <p:nvPr/>
        </p:nvGrpSpPr>
        <p:grpSpPr>
          <a:xfrm>
            <a:off x="8730259" y="3359316"/>
            <a:ext cx="2926080" cy="1158492"/>
            <a:chOff x="8927481" y="2378879"/>
            <a:chExt cx="2926080" cy="1158492"/>
          </a:xfrm>
        </p:grpSpPr>
        <p:sp>
          <p:nvSpPr>
            <p:cNvPr id="95" name="TextBox 3">
              <a:extLst>
                <a:ext uri="{FF2B5EF4-FFF2-40B4-BE49-F238E27FC236}">
                  <a16:creationId xmlns:a16="http://schemas.microsoft.com/office/drawing/2014/main" id="{15C664E6-28F5-14E8-377A-C0E664421C7D}"/>
                </a:ext>
              </a:extLst>
            </p:cNvPr>
            <p:cNvSpPr txBox="1"/>
            <p:nvPr/>
          </p:nvSpPr>
          <p:spPr>
            <a:xfrm>
              <a:off x="8927481" y="2378879"/>
              <a:ext cx="2926080"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noProof="1">
                  <a:solidFill>
                    <a:schemeClr val="bg1"/>
                  </a:solidFill>
                </a:rPr>
                <a:t>02 - </a:t>
              </a:r>
              <a:r>
                <a:rPr lang="fr-FR" sz="2000" b="1" dirty="0">
                  <a:solidFill>
                    <a:schemeClr val="bg1"/>
                  </a:solidFill>
                </a:rPr>
                <a:t>Prix</a:t>
              </a:r>
              <a:r>
                <a:rPr lang="fr-FR" sz="2400" b="1" dirty="0">
                  <a:solidFill>
                    <a:schemeClr val="bg1"/>
                  </a:solidFill>
                </a:rPr>
                <a:t> :</a:t>
              </a:r>
              <a:endParaRPr lang="en-US" sz="2400" b="1" noProof="1">
                <a:solidFill>
                  <a:schemeClr val="bg1"/>
                </a:solidFill>
              </a:endParaRPr>
            </a:p>
          </p:txBody>
        </p:sp>
        <p:sp>
          <p:nvSpPr>
            <p:cNvPr id="96" name="TextBox 4">
              <a:extLst>
                <a:ext uri="{FF2B5EF4-FFF2-40B4-BE49-F238E27FC236}">
                  <a16:creationId xmlns:a16="http://schemas.microsoft.com/office/drawing/2014/main" id="{C5DB4AC4-81DD-AB76-0C58-68B0F6ABEA28}"/>
                </a:ext>
              </a:extLst>
            </p:cNvPr>
            <p:cNvSpPr txBox="1"/>
            <p:nvPr/>
          </p:nvSpPr>
          <p:spPr>
            <a:xfrm>
              <a:off x="8927481" y="2798707"/>
              <a:ext cx="2926080" cy="738664"/>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fr-FR" sz="1400" b="1" dirty="0">
                  <a:solidFill>
                    <a:schemeClr val="bg1"/>
                  </a:solidFill>
                </a:rPr>
                <a:t>Prix fixés par les prestataires, avec une commission modérée → accessibilité et rentabilité.</a:t>
              </a:r>
              <a:endParaRPr lang="en-US" sz="1050" noProof="1">
                <a:solidFill>
                  <a:schemeClr val="bg1"/>
                </a:solidFill>
              </a:endParaRPr>
            </a:p>
          </p:txBody>
        </p:sp>
      </p:grpSp>
      <p:grpSp>
        <p:nvGrpSpPr>
          <p:cNvPr id="30" name="Group 69">
            <a:extLst>
              <a:ext uri="{FF2B5EF4-FFF2-40B4-BE49-F238E27FC236}">
                <a16:creationId xmlns:a16="http://schemas.microsoft.com/office/drawing/2014/main" id="{DE935B50-670E-BF36-9C04-701CCD8FCBA5}"/>
              </a:ext>
            </a:extLst>
          </p:cNvPr>
          <p:cNvGrpSpPr/>
          <p:nvPr/>
        </p:nvGrpSpPr>
        <p:grpSpPr>
          <a:xfrm>
            <a:off x="8718708" y="5607294"/>
            <a:ext cx="2926080" cy="1158492"/>
            <a:chOff x="8927481" y="4652338"/>
            <a:chExt cx="2926080" cy="1158492"/>
          </a:xfrm>
        </p:grpSpPr>
        <p:sp>
          <p:nvSpPr>
            <p:cNvPr id="93" name="TextBox 6">
              <a:extLst>
                <a:ext uri="{FF2B5EF4-FFF2-40B4-BE49-F238E27FC236}">
                  <a16:creationId xmlns:a16="http://schemas.microsoft.com/office/drawing/2014/main" id="{2A246F15-946B-2F85-97C9-A138A624F0BC}"/>
                </a:ext>
              </a:extLst>
            </p:cNvPr>
            <p:cNvSpPr txBox="1"/>
            <p:nvPr/>
          </p:nvSpPr>
          <p:spPr>
            <a:xfrm>
              <a:off x="8927481" y="4652338"/>
              <a:ext cx="2926080"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noProof="1">
                  <a:solidFill>
                    <a:schemeClr val="bg1"/>
                  </a:solidFill>
                </a:rPr>
                <a:t>04</a:t>
              </a:r>
              <a:r>
                <a:rPr lang="en-US" sz="2400" b="1" noProof="1">
                  <a:solidFill>
                    <a:schemeClr val="bg1"/>
                  </a:solidFill>
                </a:rPr>
                <a:t> - </a:t>
              </a:r>
              <a:r>
                <a:rPr lang="fr-FR" b="1" dirty="0">
                  <a:solidFill>
                    <a:schemeClr val="bg1"/>
                  </a:solidFill>
                </a:rPr>
                <a:t>Distribution :</a:t>
              </a:r>
              <a:endParaRPr lang="en-US" sz="2400" b="1" noProof="1">
                <a:solidFill>
                  <a:schemeClr val="bg1"/>
                </a:solidFill>
              </a:endParaRPr>
            </a:p>
          </p:txBody>
        </p:sp>
        <p:sp>
          <p:nvSpPr>
            <p:cNvPr id="94" name="TextBox 7">
              <a:extLst>
                <a:ext uri="{FF2B5EF4-FFF2-40B4-BE49-F238E27FC236}">
                  <a16:creationId xmlns:a16="http://schemas.microsoft.com/office/drawing/2014/main" id="{C0C26617-0C98-2E7B-CCE0-1EE44973EC1A}"/>
                </a:ext>
              </a:extLst>
            </p:cNvPr>
            <p:cNvSpPr txBox="1"/>
            <p:nvPr/>
          </p:nvSpPr>
          <p:spPr>
            <a:xfrm>
              <a:off x="8927481" y="5072166"/>
              <a:ext cx="2926080" cy="738664"/>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fr-FR" sz="1400" b="1" dirty="0">
                  <a:solidFill>
                    <a:schemeClr val="bg1"/>
                  </a:solidFill>
                </a:rPr>
                <a:t>Service 100 % en ligne (app + site), réservation instantanée avec géolocalisation</a:t>
              </a:r>
              <a:endParaRPr lang="en-US" sz="1050" noProof="1">
                <a:solidFill>
                  <a:schemeClr val="bg1"/>
                </a:solidFill>
              </a:endParaRPr>
            </a:p>
          </p:txBody>
        </p:sp>
      </p:grpSp>
      <p:grpSp>
        <p:nvGrpSpPr>
          <p:cNvPr id="31" name="Group 64">
            <a:extLst>
              <a:ext uri="{FF2B5EF4-FFF2-40B4-BE49-F238E27FC236}">
                <a16:creationId xmlns:a16="http://schemas.microsoft.com/office/drawing/2014/main" id="{158027FF-E412-7AC7-24B9-D99A799059F0}"/>
              </a:ext>
            </a:extLst>
          </p:cNvPr>
          <p:cNvGrpSpPr/>
          <p:nvPr/>
        </p:nvGrpSpPr>
        <p:grpSpPr>
          <a:xfrm>
            <a:off x="420446" y="3198371"/>
            <a:ext cx="2926080" cy="1158492"/>
            <a:chOff x="338440" y="2378879"/>
            <a:chExt cx="2926080" cy="1158492"/>
          </a:xfrm>
        </p:grpSpPr>
        <p:sp>
          <p:nvSpPr>
            <p:cNvPr id="91" name="TextBox 9">
              <a:extLst>
                <a:ext uri="{FF2B5EF4-FFF2-40B4-BE49-F238E27FC236}">
                  <a16:creationId xmlns:a16="http://schemas.microsoft.com/office/drawing/2014/main" id="{4EA23BC7-E338-D528-4114-76A5778A9A7F}"/>
                </a:ext>
              </a:extLst>
            </p:cNvPr>
            <p:cNvSpPr txBox="1"/>
            <p:nvPr/>
          </p:nvSpPr>
          <p:spPr>
            <a:xfrm>
              <a:off x="338440" y="2378879"/>
              <a:ext cx="2926080"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000" b="1" noProof="1">
                  <a:solidFill>
                    <a:schemeClr val="bg1"/>
                  </a:solidFill>
                </a:rPr>
                <a:t>07</a:t>
              </a:r>
              <a:r>
                <a:rPr lang="en-US" sz="2400" b="1" noProof="1">
                  <a:solidFill>
                    <a:schemeClr val="bg1"/>
                  </a:solidFill>
                </a:rPr>
                <a:t> - </a:t>
              </a:r>
              <a:r>
                <a:rPr lang="fr-FR" b="1" dirty="0">
                  <a:solidFill>
                    <a:schemeClr val="bg1"/>
                  </a:solidFill>
                </a:rPr>
                <a:t>Preuves visibles :</a:t>
              </a:r>
              <a:endParaRPr lang="en-US" sz="2400" b="1" noProof="1">
                <a:solidFill>
                  <a:schemeClr val="bg1"/>
                </a:solidFill>
              </a:endParaRPr>
            </a:p>
          </p:txBody>
        </p:sp>
        <p:sp>
          <p:nvSpPr>
            <p:cNvPr id="92" name="TextBox 10">
              <a:extLst>
                <a:ext uri="{FF2B5EF4-FFF2-40B4-BE49-F238E27FC236}">
                  <a16:creationId xmlns:a16="http://schemas.microsoft.com/office/drawing/2014/main" id="{95D852F9-6050-9C95-69FD-851C10A60AE7}"/>
                </a:ext>
              </a:extLst>
            </p:cNvPr>
            <p:cNvSpPr txBox="1"/>
            <p:nvPr/>
          </p:nvSpPr>
          <p:spPr>
            <a:xfrm>
              <a:off x="338440" y="2798707"/>
              <a:ext cx="2926080" cy="738664"/>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fr-FR" sz="1400" b="1" dirty="0">
                  <a:solidFill>
                    <a:schemeClr val="bg1"/>
                  </a:solidFill>
                </a:rPr>
                <a:t>Photos réelles, avis clients et interface professionnelle pour rassurer.</a:t>
              </a:r>
              <a:endParaRPr lang="en-US" sz="1050" noProof="1">
                <a:solidFill>
                  <a:schemeClr val="bg1"/>
                </a:solidFill>
              </a:endParaRPr>
            </a:p>
          </p:txBody>
        </p:sp>
      </p:grpSp>
      <p:grpSp>
        <p:nvGrpSpPr>
          <p:cNvPr id="32" name="Group 70">
            <a:extLst>
              <a:ext uri="{FF2B5EF4-FFF2-40B4-BE49-F238E27FC236}">
                <a16:creationId xmlns:a16="http://schemas.microsoft.com/office/drawing/2014/main" id="{C18D5BFF-AA4D-4C09-AFF5-3D913F574583}"/>
              </a:ext>
            </a:extLst>
          </p:cNvPr>
          <p:cNvGrpSpPr/>
          <p:nvPr/>
        </p:nvGrpSpPr>
        <p:grpSpPr>
          <a:xfrm>
            <a:off x="420446" y="5607294"/>
            <a:ext cx="2926080" cy="1004603"/>
            <a:chOff x="483830" y="4652338"/>
            <a:chExt cx="2926080" cy="1004603"/>
          </a:xfrm>
        </p:grpSpPr>
        <p:sp>
          <p:nvSpPr>
            <p:cNvPr id="89" name="TextBox 12">
              <a:extLst>
                <a:ext uri="{FF2B5EF4-FFF2-40B4-BE49-F238E27FC236}">
                  <a16:creationId xmlns:a16="http://schemas.microsoft.com/office/drawing/2014/main" id="{74B80F65-B549-9D48-890A-51C34C549902}"/>
                </a:ext>
              </a:extLst>
            </p:cNvPr>
            <p:cNvSpPr txBox="1"/>
            <p:nvPr/>
          </p:nvSpPr>
          <p:spPr>
            <a:xfrm>
              <a:off x="483830" y="4652338"/>
              <a:ext cx="2926080"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000" b="1" noProof="1">
                  <a:solidFill>
                    <a:schemeClr val="bg1"/>
                  </a:solidFill>
                </a:rPr>
                <a:t>05</a:t>
              </a:r>
              <a:r>
                <a:rPr lang="en-US" sz="2400" b="1" noProof="1">
                  <a:solidFill>
                    <a:schemeClr val="bg1"/>
                  </a:solidFill>
                </a:rPr>
                <a:t> - </a:t>
              </a:r>
              <a:r>
                <a:rPr lang="fr-FR" sz="2000" b="1" dirty="0">
                  <a:solidFill>
                    <a:schemeClr val="bg1"/>
                  </a:solidFill>
                </a:rPr>
                <a:t>Personnel :</a:t>
              </a:r>
              <a:endParaRPr lang="en-US" sz="2400" b="1" noProof="1">
                <a:solidFill>
                  <a:schemeClr val="bg1"/>
                </a:solidFill>
              </a:endParaRPr>
            </a:p>
          </p:txBody>
        </p:sp>
        <p:sp>
          <p:nvSpPr>
            <p:cNvPr id="90" name="TextBox 13">
              <a:extLst>
                <a:ext uri="{FF2B5EF4-FFF2-40B4-BE49-F238E27FC236}">
                  <a16:creationId xmlns:a16="http://schemas.microsoft.com/office/drawing/2014/main" id="{897B0A2A-CF33-56BD-AB62-4419E4B2C65F}"/>
                </a:ext>
              </a:extLst>
            </p:cNvPr>
            <p:cNvSpPr txBox="1"/>
            <p:nvPr/>
          </p:nvSpPr>
          <p:spPr>
            <a:xfrm>
              <a:off x="483830" y="5072166"/>
              <a:ext cx="2926080" cy="584775"/>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n-US" b="1" noProof="1">
                  <a:solidFill>
                    <a:schemeClr val="bg1"/>
                  </a:solidFill>
                </a:rPr>
                <a:t>s</a:t>
              </a:r>
              <a:r>
                <a:rPr lang="fr-FR" sz="1400" b="1" dirty="0" err="1">
                  <a:solidFill>
                    <a:schemeClr val="bg1"/>
                  </a:solidFill>
                </a:rPr>
                <a:t>upport</a:t>
              </a:r>
              <a:r>
                <a:rPr lang="fr-FR" sz="1400" b="1" dirty="0">
                  <a:solidFill>
                    <a:schemeClr val="bg1"/>
                  </a:solidFill>
                </a:rPr>
                <a:t> client réactif, formation des prestataires, suivi qualité.</a:t>
              </a:r>
              <a:endParaRPr lang="en-US" sz="1050" noProof="1">
                <a:solidFill>
                  <a:schemeClr val="bg1"/>
                </a:solidFill>
              </a:endParaRPr>
            </a:p>
          </p:txBody>
        </p:sp>
      </p:grpSp>
      <p:grpSp>
        <p:nvGrpSpPr>
          <p:cNvPr id="34" name="Group 66">
            <a:extLst>
              <a:ext uri="{FF2B5EF4-FFF2-40B4-BE49-F238E27FC236}">
                <a16:creationId xmlns:a16="http://schemas.microsoft.com/office/drawing/2014/main" id="{DA1A164D-BB0D-1422-A80D-406A2BC32301}"/>
              </a:ext>
            </a:extLst>
          </p:cNvPr>
          <p:cNvGrpSpPr/>
          <p:nvPr/>
        </p:nvGrpSpPr>
        <p:grpSpPr>
          <a:xfrm>
            <a:off x="8718707" y="1964339"/>
            <a:ext cx="2926079" cy="1376615"/>
            <a:chOff x="8927481" y="1210555"/>
            <a:chExt cx="2926080" cy="1470826"/>
          </a:xfrm>
        </p:grpSpPr>
        <p:sp>
          <p:nvSpPr>
            <p:cNvPr id="87" name="TextBox 15">
              <a:extLst>
                <a:ext uri="{FF2B5EF4-FFF2-40B4-BE49-F238E27FC236}">
                  <a16:creationId xmlns:a16="http://schemas.microsoft.com/office/drawing/2014/main" id="{C3B194B2-C22F-EA73-E3D5-9907040FFAA3}"/>
                </a:ext>
              </a:extLst>
            </p:cNvPr>
            <p:cNvSpPr txBox="1"/>
            <p:nvPr/>
          </p:nvSpPr>
          <p:spPr>
            <a:xfrm>
              <a:off x="8927481" y="1210555"/>
              <a:ext cx="2926080" cy="493260"/>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noProof="1">
                  <a:solidFill>
                    <a:schemeClr val="bg1"/>
                  </a:solidFill>
                </a:rPr>
                <a:t>01 - </a:t>
              </a:r>
              <a:r>
                <a:rPr lang="fr-FR" sz="2000" b="1" dirty="0">
                  <a:solidFill>
                    <a:schemeClr val="bg1"/>
                  </a:solidFill>
                </a:rPr>
                <a:t>Produit</a:t>
              </a:r>
              <a:r>
                <a:rPr lang="fr-FR" b="1" dirty="0">
                  <a:solidFill>
                    <a:schemeClr val="bg1"/>
                  </a:solidFill>
                </a:rPr>
                <a:t> :</a:t>
              </a:r>
              <a:endParaRPr lang="en-US" sz="2400" b="1" noProof="1">
                <a:solidFill>
                  <a:schemeClr val="bg1"/>
                </a:solidFill>
              </a:endParaRPr>
            </a:p>
          </p:txBody>
        </p:sp>
        <p:sp>
          <p:nvSpPr>
            <p:cNvPr id="88" name="TextBox 16">
              <a:extLst>
                <a:ext uri="{FF2B5EF4-FFF2-40B4-BE49-F238E27FC236}">
                  <a16:creationId xmlns:a16="http://schemas.microsoft.com/office/drawing/2014/main" id="{3F762867-1582-1FCC-CADC-C41CF0777EA7}"/>
                </a:ext>
              </a:extLst>
            </p:cNvPr>
            <p:cNvSpPr txBox="1"/>
            <p:nvPr/>
          </p:nvSpPr>
          <p:spPr>
            <a:xfrm>
              <a:off x="8927481" y="1661978"/>
              <a:ext cx="2926080" cy="1019403"/>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fr-FR" sz="1400" b="1" dirty="0">
                  <a:solidFill>
                    <a:schemeClr val="bg1"/>
                  </a:solidFill>
                </a:rPr>
                <a:t>Réservation de cabanes, activités nautiques et services en bord de mer via une plateforme intuitive, multilingue et géolocalisée.</a:t>
              </a:r>
              <a:endParaRPr lang="en-US" sz="1050" noProof="1">
                <a:solidFill>
                  <a:schemeClr val="bg1"/>
                </a:solidFill>
              </a:endParaRPr>
            </a:p>
          </p:txBody>
        </p:sp>
      </p:grpSp>
      <p:grpSp>
        <p:nvGrpSpPr>
          <p:cNvPr id="35" name="Group 65">
            <a:extLst>
              <a:ext uri="{FF2B5EF4-FFF2-40B4-BE49-F238E27FC236}">
                <a16:creationId xmlns:a16="http://schemas.microsoft.com/office/drawing/2014/main" id="{E786107E-2148-4E78-54AB-58A996601897}"/>
              </a:ext>
            </a:extLst>
          </p:cNvPr>
          <p:cNvGrpSpPr/>
          <p:nvPr/>
        </p:nvGrpSpPr>
        <p:grpSpPr>
          <a:xfrm>
            <a:off x="420446" y="1993910"/>
            <a:ext cx="2926080" cy="943048"/>
            <a:chOff x="338440" y="1242150"/>
            <a:chExt cx="2926080" cy="943048"/>
          </a:xfrm>
        </p:grpSpPr>
        <p:sp>
          <p:nvSpPr>
            <p:cNvPr id="85" name="TextBox 18">
              <a:extLst>
                <a:ext uri="{FF2B5EF4-FFF2-40B4-BE49-F238E27FC236}">
                  <a16:creationId xmlns:a16="http://schemas.microsoft.com/office/drawing/2014/main" id="{D8C09D64-3D04-3780-4E2D-7C6EC1759E9F}"/>
                </a:ext>
              </a:extLst>
            </p:cNvPr>
            <p:cNvSpPr txBox="1"/>
            <p:nvPr/>
          </p:nvSpPr>
          <p:spPr>
            <a:xfrm>
              <a:off x="338440" y="1242150"/>
              <a:ext cx="2926080"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000" b="1" noProof="1">
                  <a:solidFill>
                    <a:schemeClr val="bg1"/>
                  </a:solidFill>
                </a:rPr>
                <a:t>08</a:t>
              </a:r>
              <a:r>
                <a:rPr lang="en-US" sz="2400" b="1" noProof="1">
                  <a:solidFill>
                    <a:schemeClr val="bg1"/>
                  </a:solidFill>
                </a:rPr>
                <a:t> - </a:t>
              </a:r>
              <a:r>
                <a:rPr lang="fr-FR" b="1" dirty="0">
                  <a:solidFill>
                    <a:schemeClr val="bg1"/>
                  </a:solidFill>
                </a:rPr>
                <a:t>Partenariats :</a:t>
              </a:r>
              <a:endParaRPr lang="en-US" sz="2400" b="1" noProof="1">
                <a:solidFill>
                  <a:schemeClr val="bg1"/>
                </a:solidFill>
              </a:endParaRPr>
            </a:p>
          </p:txBody>
        </p:sp>
        <p:sp>
          <p:nvSpPr>
            <p:cNvPr id="86" name="TextBox 19">
              <a:extLst>
                <a:ext uri="{FF2B5EF4-FFF2-40B4-BE49-F238E27FC236}">
                  <a16:creationId xmlns:a16="http://schemas.microsoft.com/office/drawing/2014/main" id="{261A9313-83DA-3533-F918-146748F7064D}"/>
                </a:ext>
              </a:extLst>
            </p:cNvPr>
            <p:cNvSpPr txBox="1"/>
            <p:nvPr/>
          </p:nvSpPr>
          <p:spPr>
            <a:xfrm>
              <a:off x="338440" y="1661978"/>
              <a:ext cx="2926080" cy="523220"/>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fr-FR" sz="1400" b="1" dirty="0">
                  <a:solidFill>
                    <a:schemeClr val="bg1"/>
                  </a:solidFill>
                </a:rPr>
                <a:t>Collaboration avec prestataires locaux pour enrichir l’offre.</a:t>
              </a:r>
              <a:endParaRPr lang="en-US" sz="1050" noProof="1">
                <a:solidFill>
                  <a:schemeClr val="bg1"/>
                </a:solidFill>
              </a:endParaRPr>
            </a:p>
          </p:txBody>
        </p:sp>
      </p:grpSp>
      <p:grpSp>
        <p:nvGrpSpPr>
          <p:cNvPr id="36" name="Group 63">
            <a:extLst>
              <a:ext uri="{FF2B5EF4-FFF2-40B4-BE49-F238E27FC236}">
                <a16:creationId xmlns:a16="http://schemas.microsoft.com/office/drawing/2014/main" id="{D12A86E8-A38B-429B-DB79-9233D3EA40BE}"/>
              </a:ext>
            </a:extLst>
          </p:cNvPr>
          <p:cNvGrpSpPr/>
          <p:nvPr/>
        </p:nvGrpSpPr>
        <p:grpSpPr>
          <a:xfrm>
            <a:off x="420446" y="4402832"/>
            <a:ext cx="2926080" cy="1004603"/>
            <a:chOff x="338440" y="3515608"/>
            <a:chExt cx="2926080" cy="1004603"/>
          </a:xfrm>
        </p:grpSpPr>
        <p:sp>
          <p:nvSpPr>
            <p:cNvPr id="83" name="TextBox 21">
              <a:extLst>
                <a:ext uri="{FF2B5EF4-FFF2-40B4-BE49-F238E27FC236}">
                  <a16:creationId xmlns:a16="http://schemas.microsoft.com/office/drawing/2014/main" id="{899B6FB0-1681-6BE6-07E4-53CA2D046BFA}"/>
                </a:ext>
              </a:extLst>
            </p:cNvPr>
            <p:cNvSpPr txBox="1"/>
            <p:nvPr/>
          </p:nvSpPr>
          <p:spPr>
            <a:xfrm>
              <a:off x="338440" y="3515608"/>
              <a:ext cx="2926080"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000" b="1" noProof="1">
                  <a:solidFill>
                    <a:schemeClr val="bg1"/>
                  </a:solidFill>
                </a:rPr>
                <a:t>06</a:t>
              </a:r>
              <a:r>
                <a:rPr lang="en-US" sz="2400" b="1" noProof="1">
                  <a:solidFill>
                    <a:schemeClr val="bg1"/>
                  </a:solidFill>
                </a:rPr>
                <a:t> - </a:t>
              </a:r>
              <a:r>
                <a:rPr lang="fr-FR" b="1" dirty="0">
                  <a:solidFill>
                    <a:schemeClr val="bg1"/>
                  </a:solidFill>
                </a:rPr>
                <a:t>Processus :</a:t>
              </a:r>
              <a:endParaRPr lang="en-US" sz="2400" b="1" noProof="1">
                <a:solidFill>
                  <a:schemeClr val="bg1"/>
                </a:solidFill>
              </a:endParaRPr>
            </a:p>
          </p:txBody>
        </p:sp>
        <p:sp>
          <p:nvSpPr>
            <p:cNvPr id="84" name="TextBox 22">
              <a:extLst>
                <a:ext uri="{FF2B5EF4-FFF2-40B4-BE49-F238E27FC236}">
                  <a16:creationId xmlns:a16="http://schemas.microsoft.com/office/drawing/2014/main" id="{4E9AB54F-3495-A058-3949-9CA13F40E74A}"/>
                </a:ext>
              </a:extLst>
            </p:cNvPr>
            <p:cNvSpPr txBox="1"/>
            <p:nvPr/>
          </p:nvSpPr>
          <p:spPr>
            <a:xfrm>
              <a:off x="338440" y="3935436"/>
              <a:ext cx="2926080" cy="584775"/>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fr-FR" sz="1600" b="1" dirty="0">
                  <a:solidFill>
                    <a:schemeClr val="bg1"/>
                  </a:solidFill>
                </a:rPr>
                <a:t>Parcours simple, rapide et adapté aux habitudes locales</a:t>
              </a:r>
              <a:endParaRPr lang="en-US" sz="1100" noProof="1">
                <a:solidFill>
                  <a:schemeClr val="bg1"/>
                </a:solidFill>
              </a:endParaRPr>
            </a:p>
          </p:txBody>
        </p:sp>
      </p:grpSp>
      <p:grpSp>
        <p:nvGrpSpPr>
          <p:cNvPr id="45" name="Group 68">
            <a:extLst>
              <a:ext uri="{FF2B5EF4-FFF2-40B4-BE49-F238E27FC236}">
                <a16:creationId xmlns:a16="http://schemas.microsoft.com/office/drawing/2014/main" id="{A7610B24-E487-3473-8BA6-E1CB99B3B73A}"/>
              </a:ext>
            </a:extLst>
          </p:cNvPr>
          <p:cNvGrpSpPr/>
          <p:nvPr/>
        </p:nvGrpSpPr>
        <p:grpSpPr>
          <a:xfrm>
            <a:off x="8718708" y="4402832"/>
            <a:ext cx="2926080" cy="1158492"/>
            <a:chOff x="8927481" y="3515608"/>
            <a:chExt cx="2926080" cy="1158492"/>
          </a:xfrm>
        </p:grpSpPr>
        <p:sp>
          <p:nvSpPr>
            <p:cNvPr id="81" name="TextBox 24">
              <a:extLst>
                <a:ext uri="{FF2B5EF4-FFF2-40B4-BE49-F238E27FC236}">
                  <a16:creationId xmlns:a16="http://schemas.microsoft.com/office/drawing/2014/main" id="{D075CC94-23D2-9462-7BC9-C07140AD0BF6}"/>
                </a:ext>
              </a:extLst>
            </p:cNvPr>
            <p:cNvSpPr txBox="1"/>
            <p:nvPr/>
          </p:nvSpPr>
          <p:spPr>
            <a:xfrm>
              <a:off x="8927481" y="3515608"/>
              <a:ext cx="2926080"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noProof="1">
                  <a:solidFill>
                    <a:schemeClr val="bg1"/>
                  </a:solidFill>
                </a:rPr>
                <a:t>03</a:t>
              </a:r>
              <a:r>
                <a:rPr lang="en-US" sz="2400" b="1" noProof="1">
                  <a:solidFill>
                    <a:schemeClr val="bg1"/>
                  </a:solidFill>
                </a:rPr>
                <a:t> - </a:t>
              </a:r>
              <a:r>
                <a:rPr lang="fr-FR" b="1" dirty="0">
                  <a:solidFill>
                    <a:schemeClr val="bg1"/>
                  </a:solidFill>
                </a:rPr>
                <a:t>Communication :</a:t>
              </a:r>
              <a:endParaRPr lang="en-US" sz="2400" b="1" noProof="1">
                <a:solidFill>
                  <a:schemeClr val="bg1"/>
                </a:solidFill>
              </a:endParaRPr>
            </a:p>
          </p:txBody>
        </p:sp>
        <p:sp>
          <p:nvSpPr>
            <p:cNvPr id="82" name="TextBox 25">
              <a:extLst>
                <a:ext uri="{FF2B5EF4-FFF2-40B4-BE49-F238E27FC236}">
                  <a16:creationId xmlns:a16="http://schemas.microsoft.com/office/drawing/2014/main" id="{5AF1DE24-9DD4-D0AA-B21F-C789239639E6}"/>
                </a:ext>
              </a:extLst>
            </p:cNvPr>
            <p:cNvSpPr txBox="1"/>
            <p:nvPr/>
          </p:nvSpPr>
          <p:spPr>
            <a:xfrm>
              <a:off x="8927481" y="3935436"/>
              <a:ext cx="2926080" cy="738664"/>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fr-FR" sz="1400" b="1" dirty="0" err="1">
                  <a:solidFill>
                    <a:schemeClr val="bg1"/>
                  </a:solidFill>
                </a:rPr>
                <a:t>résence</a:t>
              </a:r>
              <a:r>
                <a:rPr lang="fr-FR" sz="1400" b="1" dirty="0">
                  <a:solidFill>
                    <a:schemeClr val="bg1"/>
                  </a:solidFill>
                </a:rPr>
                <a:t> active sur les réseaux sociaux + influenceurs locaux, contenus en français et arabe</a:t>
              </a:r>
              <a:endParaRPr lang="en-US" sz="1050" noProof="1">
                <a:solidFill>
                  <a:schemeClr val="bg1"/>
                </a:solidFill>
              </a:endParaRPr>
            </a:p>
          </p:txBody>
        </p:sp>
      </p:grpSp>
      <p:sp>
        <p:nvSpPr>
          <p:cNvPr id="57" name="Freeform 44">
            <a:extLst>
              <a:ext uri="{FF2B5EF4-FFF2-40B4-BE49-F238E27FC236}">
                <a16:creationId xmlns:a16="http://schemas.microsoft.com/office/drawing/2014/main" id="{30FA7E18-23D4-6C09-CDD7-45FA66E8C000}"/>
              </a:ext>
            </a:extLst>
          </p:cNvPr>
          <p:cNvSpPr/>
          <p:nvPr/>
        </p:nvSpPr>
        <p:spPr>
          <a:xfrm>
            <a:off x="4624354" y="4523509"/>
            <a:ext cx="1915384" cy="1707306"/>
          </a:xfrm>
          <a:custGeom>
            <a:avLst/>
            <a:gdLst>
              <a:gd name="connsiteX0" fmla="*/ 109349 w 154508"/>
              <a:gd name="connsiteY0" fmla="*/ 101825 h 137723"/>
              <a:gd name="connsiteX1" fmla="*/ 35212 w 154508"/>
              <a:gd name="connsiteY1" fmla="*/ 137565 h 137723"/>
              <a:gd name="connsiteX2" fmla="*/ 165 w 154508"/>
              <a:gd name="connsiteY2" fmla="*/ 101825 h 137723"/>
              <a:gd name="connsiteX3" fmla="*/ 165 w 154508"/>
              <a:gd name="connsiteY3" fmla="*/ 101825 h 137723"/>
              <a:gd name="connsiteX4" fmla="*/ 31842 w 154508"/>
              <a:gd name="connsiteY4" fmla="*/ 72828 h 137723"/>
              <a:gd name="connsiteX5" fmla="*/ 154505 w 154508"/>
              <a:gd name="connsiteY5" fmla="*/ 0 h 137723"/>
              <a:gd name="connsiteX6" fmla="*/ 109349 w 154508"/>
              <a:gd name="connsiteY6" fmla="*/ 101825 h 13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08" h="137723">
                <a:moveTo>
                  <a:pt x="109349" y="101825"/>
                </a:moveTo>
                <a:cubicBezTo>
                  <a:pt x="79694" y="126775"/>
                  <a:pt x="56779" y="134867"/>
                  <a:pt x="35212" y="137565"/>
                </a:cubicBezTo>
                <a:cubicBezTo>
                  <a:pt x="14992" y="139588"/>
                  <a:pt x="-1857" y="122055"/>
                  <a:pt x="165" y="101825"/>
                </a:cubicBezTo>
                <a:lnTo>
                  <a:pt x="165" y="101825"/>
                </a:lnTo>
                <a:cubicBezTo>
                  <a:pt x="2187" y="84966"/>
                  <a:pt x="15666" y="72154"/>
                  <a:pt x="31842" y="72828"/>
                </a:cubicBezTo>
                <a:cubicBezTo>
                  <a:pt x="63518" y="72828"/>
                  <a:pt x="115414" y="62713"/>
                  <a:pt x="154505" y="0"/>
                </a:cubicBezTo>
                <a:cubicBezTo>
                  <a:pt x="154505" y="0"/>
                  <a:pt x="155853" y="62713"/>
                  <a:pt x="109349" y="101825"/>
                </a:cubicBezTo>
                <a:close/>
              </a:path>
            </a:pathLst>
          </a:custGeom>
          <a:solidFill>
            <a:schemeClr val="accent6"/>
          </a:solidFill>
          <a:ln w="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8" name="Freeform 45">
            <a:extLst>
              <a:ext uri="{FF2B5EF4-FFF2-40B4-BE49-F238E27FC236}">
                <a16:creationId xmlns:a16="http://schemas.microsoft.com/office/drawing/2014/main" id="{D24BA2B4-7C0D-C252-DAC4-03DE2A99935F}"/>
              </a:ext>
            </a:extLst>
          </p:cNvPr>
          <p:cNvSpPr/>
          <p:nvPr/>
        </p:nvSpPr>
        <p:spPr>
          <a:xfrm>
            <a:off x="3744873" y="4231381"/>
            <a:ext cx="2402127" cy="1057126"/>
          </a:xfrm>
          <a:custGeom>
            <a:avLst/>
            <a:gdLst>
              <a:gd name="connsiteX0" fmla="*/ 193773 w 193772"/>
              <a:gd name="connsiteY0" fmla="*/ 44470 h 85275"/>
              <a:gd name="connsiteX1" fmla="*/ 89307 w 193772"/>
              <a:gd name="connsiteY1" fmla="*/ 84930 h 85275"/>
              <a:gd name="connsiteX2" fmla="*/ 11800 w 193772"/>
              <a:gd name="connsiteY2" fmla="*/ 57282 h 85275"/>
              <a:gd name="connsiteX3" fmla="*/ 12474 w 193772"/>
              <a:gd name="connsiteY3" fmla="*/ 7381 h 85275"/>
              <a:gd name="connsiteX4" fmla="*/ 13148 w 193772"/>
              <a:gd name="connsiteY4" fmla="*/ 7381 h 85275"/>
              <a:gd name="connsiteX5" fmla="*/ 56282 w 193772"/>
              <a:gd name="connsiteY5" fmla="*/ 9404 h 85275"/>
              <a:gd name="connsiteX6" fmla="*/ 193773 w 193772"/>
              <a:gd name="connsiteY6" fmla="*/ 44470 h 8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772" h="85275">
                <a:moveTo>
                  <a:pt x="193773" y="44470"/>
                </a:moveTo>
                <a:cubicBezTo>
                  <a:pt x="193773" y="44470"/>
                  <a:pt x="150638" y="89650"/>
                  <a:pt x="89307" y="84930"/>
                </a:cubicBezTo>
                <a:cubicBezTo>
                  <a:pt x="50890" y="81558"/>
                  <a:pt x="28649" y="71443"/>
                  <a:pt x="11800" y="57282"/>
                </a:cubicBezTo>
                <a:cubicBezTo>
                  <a:pt x="-4376" y="44470"/>
                  <a:pt x="-3702" y="20194"/>
                  <a:pt x="12474" y="7381"/>
                </a:cubicBezTo>
                <a:lnTo>
                  <a:pt x="13148" y="7381"/>
                </a:lnTo>
                <a:cubicBezTo>
                  <a:pt x="25953" y="-3408"/>
                  <a:pt x="44151" y="-2060"/>
                  <a:pt x="56282" y="9404"/>
                </a:cubicBezTo>
                <a:cubicBezTo>
                  <a:pt x="78523" y="31657"/>
                  <a:pt x="123005" y="60654"/>
                  <a:pt x="193773" y="44470"/>
                </a:cubicBezTo>
                <a:close/>
              </a:path>
            </a:pathLst>
          </a:custGeom>
          <a:solidFill>
            <a:srgbClr val="805AAB"/>
          </a:solidFill>
          <a:ln w="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9" name="Freeform 46">
            <a:extLst>
              <a:ext uri="{FF2B5EF4-FFF2-40B4-BE49-F238E27FC236}">
                <a16:creationId xmlns:a16="http://schemas.microsoft.com/office/drawing/2014/main" id="{38B35329-85AD-15EE-8D27-C67510C06CFB}"/>
              </a:ext>
            </a:extLst>
          </p:cNvPr>
          <p:cNvSpPr/>
          <p:nvPr/>
        </p:nvSpPr>
        <p:spPr>
          <a:xfrm>
            <a:off x="3997790" y="2791038"/>
            <a:ext cx="1714744" cy="1916425"/>
          </a:xfrm>
          <a:custGeom>
            <a:avLst/>
            <a:gdLst>
              <a:gd name="connsiteX0" fmla="*/ 137650 w 138323"/>
              <a:gd name="connsiteY0" fmla="*/ 154588 h 154592"/>
              <a:gd name="connsiteX1" fmla="*/ 35880 w 138323"/>
              <a:gd name="connsiteY1" fmla="*/ 109408 h 154592"/>
              <a:gd name="connsiteX2" fmla="*/ 159 w 138323"/>
              <a:gd name="connsiteY2" fmla="*/ 35231 h 154592"/>
              <a:gd name="connsiteX3" fmla="*/ 35880 w 138323"/>
              <a:gd name="connsiteY3" fmla="*/ 165 h 154592"/>
              <a:gd name="connsiteX4" fmla="*/ 37228 w 138323"/>
              <a:gd name="connsiteY4" fmla="*/ 165 h 154592"/>
              <a:gd name="connsiteX5" fmla="*/ 65535 w 138323"/>
              <a:gd name="connsiteY5" fmla="*/ 31859 h 154592"/>
              <a:gd name="connsiteX6" fmla="*/ 138324 w 138323"/>
              <a:gd name="connsiteY6" fmla="*/ 154588 h 154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23" h="154592">
                <a:moveTo>
                  <a:pt x="137650" y="154588"/>
                </a:moveTo>
                <a:cubicBezTo>
                  <a:pt x="137650" y="154588"/>
                  <a:pt x="74970" y="155937"/>
                  <a:pt x="35880" y="109408"/>
                </a:cubicBezTo>
                <a:cubicBezTo>
                  <a:pt x="10943" y="79737"/>
                  <a:pt x="2855" y="56809"/>
                  <a:pt x="159" y="35231"/>
                </a:cubicBezTo>
                <a:cubicBezTo>
                  <a:pt x="-1863" y="15000"/>
                  <a:pt x="15661" y="-1858"/>
                  <a:pt x="35880" y="165"/>
                </a:cubicBezTo>
                <a:lnTo>
                  <a:pt x="37228" y="165"/>
                </a:lnTo>
                <a:cubicBezTo>
                  <a:pt x="53403" y="2188"/>
                  <a:pt x="65535" y="15675"/>
                  <a:pt x="65535" y="31859"/>
                </a:cubicBezTo>
                <a:cubicBezTo>
                  <a:pt x="65535" y="63553"/>
                  <a:pt x="75644" y="115477"/>
                  <a:pt x="138324" y="154588"/>
                </a:cubicBezTo>
                <a:close/>
              </a:path>
            </a:pathLst>
          </a:custGeom>
          <a:solidFill>
            <a:srgbClr val="F595A6"/>
          </a:solidFill>
          <a:ln w="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0" name="Freeform 47">
            <a:extLst>
              <a:ext uri="{FF2B5EF4-FFF2-40B4-BE49-F238E27FC236}">
                <a16:creationId xmlns:a16="http://schemas.microsoft.com/office/drawing/2014/main" id="{648A9C34-A03E-D13A-D83B-F4E7721C8799}"/>
              </a:ext>
            </a:extLst>
          </p:cNvPr>
          <p:cNvSpPr/>
          <p:nvPr/>
        </p:nvSpPr>
        <p:spPr>
          <a:xfrm>
            <a:off x="4931246" y="1911085"/>
            <a:ext cx="1049539" cy="2403416"/>
          </a:xfrm>
          <a:custGeom>
            <a:avLst/>
            <a:gdLst>
              <a:gd name="connsiteX0" fmla="*/ 75830 w 84663"/>
              <a:gd name="connsiteY0" fmla="*/ 56312 h 193876"/>
              <a:gd name="connsiteX1" fmla="*/ 40784 w 84663"/>
              <a:gd name="connsiteY1" fmla="*/ 193877 h 193876"/>
              <a:gd name="connsiteX2" fmla="*/ 346 w 84663"/>
              <a:gd name="connsiteY2" fmla="*/ 89355 h 193876"/>
              <a:gd name="connsiteX3" fmla="*/ 27978 w 84663"/>
              <a:gd name="connsiteY3" fmla="*/ 11806 h 193876"/>
              <a:gd name="connsiteX4" fmla="*/ 77852 w 84663"/>
              <a:gd name="connsiteY4" fmla="*/ 12480 h 193876"/>
              <a:gd name="connsiteX5" fmla="*/ 77852 w 84663"/>
              <a:gd name="connsiteY5" fmla="*/ 12480 h 193876"/>
              <a:gd name="connsiteX6" fmla="*/ 75156 w 84663"/>
              <a:gd name="connsiteY6" fmla="*/ 56312 h 193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663" h="193876">
                <a:moveTo>
                  <a:pt x="75830" y="56312"/>
                </a:moveTo>
                <a:cubicBezTo>
                  <a:pt x="53589" y="78565"/>
                  <a:pt x="24608" y="123072"/>
                  <a:pt x="40784" y="193877"/>
                </a:cubicBezTo>
                <a:cubicBezTo>
                  <a:pt x="40784" y="193877"/>
                  <a:pt x="-4372" y="150719"/>
                  <a:pt x="346" y="89355"/>
                </a:cubicBezTo>
                <a:cubicBezTo>
                  <a:pt x="3715" y="50918"/>
                  <a:pt x="13825" y="28665"/>
                  <a:pt x="27978" y="11806"/>
                </a:cubicBezTo>
                <a:cubicBezTo>
                  <a:pt x="40784" y="-4378"/>
                  <a:pt x="65047" y="-3704"/>
                  <a:pt x="77852" y="12480"/>
                </a:cubicBezTo>
                <a:lnTo>
                  <a:pt x="77852" y="12480"/>
                </a:lnTo>
                <a:cubicBezTo>
                  <a:pt x="87962" y="25967"/>
                  <a:pt x="86614" y="44849"/>
                  <a:pt x="75156" y="56312"/>
                </a:cubicBezTo>
                <a:close/>
              </a:path>
            </a:pathLst>
          </a:custGeom>
          <a:solidFill>
            <a:schemeClr val="accent2"/>
          </a:solidFill>
          <a:ln w="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1" name="Freeform 48">
            <a:extLst>
              <a:ext uri="{FF2B5EF4-FFF2-40B4-BE49-F238E27FC236}">
                <a16:creationId xmlns:a16="http://schemas.microsoft.com/office/drawing/2014/main" id="{6DEE80B4-BB49-3D76-8390-A2B53B57B2CA}"/>
              </a:ext>
            </a:extLst>
          </p:cNvPr>
          <p:cNvSpPr/>
          <p:nvPr/>
        </p:nvSpPr>
        <p:spPr>
          <a:xfrm>
            <a:off x="5545389" y="2154357"/>
            <a:ext cx="1916636" cy="1700389"/>
          </a:xfrm>
          <a:custGeom>
            <a:avLst/>
            <a:gdLst>
              <a:gd name="connsiteX0" fmla="*/ 154344 w 154609"/>
              <a:gd name="connsiteY0" fmla="*/ 36015 h 137165"/>
              <a:gd name="connsiteX1" fmla="*/ 154344 w 154609"/>
              <a:gd name="connsiteY1" fmla="*/ 36015 h 137165"/>
              <a:gd name="connsiteX2" fmla="*/ 122667 w 154609"/>
              <a:gd name="connsiteY2" fmla="*/ 64337 h 137165"/>
              <a:gd name="connsiteX3" fmla="*/ 4 w 154609"/>
              <a:gd name="connsiteY3" fmla="*/ 137165 h 137165"/>
              <a:gd name="connsiteX4" fmla="*/ 45160 w 154609"/>
              <a:gd name="connsiteY4" fmla="*/ 35340 h 137165"/>
              <a:gd name="connsiteX5" fmla="*/ 117275 w 154609"/>
              <a:gd name="connsiteY5" fmla="*/ 275 h 137165"/>
              <a:gd name="connsiteX6" fmla="*/ 154344 w 154609"/>
              <a:gd name="connsiteY6" fmla="*/ 36689 h 137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609" h="137165">
                <a:moveTo>
                  <a:pt x="154344" y="36015"/>
                </a:moveTo>
                <a:lnTo>
                  <a:pt x="154344" y="36015"/>
                </a:lnTo>
                <a:cubicBezTo>
                  <a:pt x="152322" y="52199"/>
                  <a:pt x="138842" y="64337"/>
                  <a:pt x="122667" y="64337"/>
                </a:cubicBezTo>
                <a:cubicBezTo>
                  <a:pt x="90990" y="64337"/>
                  <a:pt x="39094" y="74452"/>
                  <a:pt x="4" y="137165"/>
                </a:cubicBezTo>
                <a:cubicBezTo>
                  <a:pt x="4" y="137165"/>
                  <a:pt x="-1344" y="74452"/>
                  <a:pt x="45160" y="35340"/>
                </a:cubicBezTo>
                <a:cubicBezTo>
                  <a:pt x="73467" y="11738"/>
                  <a:pt x="95708" y="2972"/>
                  <a:pt x="117275" y="275"/>
                </a:cubicBezTo>
                <a:cubicBezTo>
                  <a:pt x="138842" y="-2423"/>
                  <a:pt x="157040" y="15110"/>
                  <a:pt x="154344" y="36689"/>
                </a:cubicBezTo>
                <a:close/>
              </a:path>
            </a:pathLst>
          </a:custGeom>
          <a:solidFill>
            <a:schemeClr val="accent4"/>
          </a:solidFill>
          <a:ln w="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2" name="Freeform 49">
            <a:extLst>
              <a:ext uri="{FF2B5EF4-FFF2-40B4-BE49-F238E27FC236}">
                <a16:creationId xmlns:a16="http://schemas.microsoft.com/office/drawing/2014/main" id="{B115E284-8BF7-D4F1-EA7A-0E07706276CD}"/>
              </a:ext>
            </a:extLst>
          </p:cNvPr>
          <p:cNvSpPr/>
          <p:nvPr/>
        </p:nvSpPr>
        <p:spPr>
          <a:xfrm>
            <a:off x="5921417" y="3081380"/>
            <a:ext cx="2398941" cy="1050097"/>
          </a:xfrm>
          <a:custGeom>
            <a:avLst/>
            <a:gdLst>
              <a:gd name="connsiteX0" fmla="*/ 181299 w 193515"/>
              <a:gd name="connsiteY0" fmla="*/ 77894 h 84708"/>
              <a:gd name="connsiteX1" fmla="*/ 137490 w 193515"/>
              <a:gd name="connsiteY1" fmla="*/ 75197 h 84708"/>
              <a:gd name="connsiteX2" fmla="*/ 0 w 193515"/>
              <a:gd name="connsiteY2" fmla="*/ 40806 h 84708"/>
              <a:gd name="connsiteX3" fmla="*/ 104466 w 193515"/>
              <a:gd name="connsiteY3" fmla="*/ 346 h 84708"/>
              <a:gd name="connsiteX4" fmla="*/ 180625 w 193515"/>
              <a:gd name="connsiteY4" fmla="*/ 26645 h 84708"/>
              <a:gd name="connsiteX5" fmla="*/ 180625 w 193515"/>
              <a:gd name="connsiteY5" fmla="*/ 78569 h 84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515" h="84708">
                <a:moveTo>
                  <a:pt x="181299" y="77894"/>
                </a:moveTo>
                <a:cubicBezTo>
                  <a:pt x="168493" y="88009"/>
                  <a:pt x="149622" y="86661"/>
                  <a:pt x="137490" y="75197"/>
                </a:cubicBezTo>
                <a:cubicBezTo>
                  <a:pt x="115249" y="52944"/>
                  <a:pt x="70767" y="24622"/>
                  <a:pt x="0" y="40806"/>
                </a:cubicBezTo>
                <a:cubicBezTo>
                  <a:pt x="0" y="40806"/>
                  <a:pt x="43134" y="-4375"/>
                  <a:pt x="104466" y="346"/>
                </a:cubicBezTo>
                <a:cubicBezTo>
                  <a:pt x="141534" y="3717"/>
                  <a:pt x="163775" y="13158"/>
                  <a:pt x="180625" y="26645"/>
                </a:cubicBezTo>
                <a:cubicBezTo>
                  <a:pt x="197474" y="39457"/>
                  <a:pt x="198148" y="65082"/>
                  <a:pt x="180625" y="78569"/>
                </a:cubicBezTo>
                <a:close/>
              </a:path>
            </a:pathLst>
          </a:custGeom>
          <a:solidFill>
            <a:schemeClr val="accent5"/>
          </a:solidFill>
          <a:ln w="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3" name="Freeform 50">
            <a:extLst>
              <a:ext uri="{FF2B5EF4-FFF2-40B4-BE49-F238E27FC236}">
                <a16:creationId xmlns:a16="http://schemas.microsoft.com/office/drawing/2014/main" id="{A0446099-0A4F-CB47-59C6-3809106E36EB}"/>
              </a:ext>
            </a:extLst>
          </p:cNvPr>
          <p:cNvSpPr/>
          <p:nvPr/>
        </p:nvSpPr>
        <p:spPr>
          <a:xfrm>
            <a:off x="6372594" y="3662424"/>
            <a:ext cx="1706389" cy="1916425"/>
          </a:xfrm>
          <a:custGeom>
            <a:avLst/>
            <a:gdLst>
              <a:gd name="connsiteX0" fmla="*/ 102444 w 137649"/>
              <a:gd name="connsiteY0" fmla="*/ 154427 h 154592"/>
              <a:gd name="connsiteX1" fmla="*/ 101096 w 137649"/>
              <a:gd name="connsiteY1" fmla="*/ 154427 h 154592"/>
              <a:gd name="connsiteX2" fmla="*/ 72789 w 137649"/>
              <a:gd name="connsiteY2" fmla="*/ 122733 h 154592"/>
              <a:gd name="connsiteX3" fmla="*/ 0 w 137649"/>
              <a:gd name="connsiteY3" fmla="*/ 4 h 154592"/>
              <a:gd name="connsiteX4" fmla="*/ 101770 w 137649"/>
              <a:gd name="connsiteY4" fmla="*/ 45185 h 154592"/>
              <a:gd name="connsiteX5" fmla="*/ 137490 w 137649"/>
              <a:gd name="connsiteY5" fmla="*/ 119362 h 154592"/>
              <a:gd name="connsiteX6" fmla="*/ 101770 w 137649"/>
              <a:gd name="connsiteY6" fmla="*/ 154427 h 154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649" h="154592">
                <a:moveTo>
                  <a:pt x="102444" y="154427"/>
                </a:moveTo>
                <a:lnTo>
                  <a:pt x="101096" y="154427"/>
                </a:lnTo>
                <a:cubicBezTo>
                  <a:pt x="84921" y="152404"/>
                  <a:pt x="72789" y="138917"/>
                  <a:pt x="72789" y="122733"/>
                </a:cubicBezTo>
                <a:cubicBezTo>
                  <a:pt x="72789" y="91039"/>
                  <a:pt x="62680" y="39116"/>
                  <a:pt x="0" y="4"/>
                </a:cubicBezTo>
                <a:cubicBezTo>
                  <a:pt x="0" y="4"/>
                  <a:pt x="62680" y="-1345"/>
                  <a:pt x="101770" y="45185"/>
                </a:cubicBezTo>
                <a:cubicBezTo>
                  <a:pt x="126707" y="74855"/>
                  <a:pt x="134795" y="97783"/>
                  <a:pt x="137490" y="119362"/>
                </a:cubicBezTo>
                <a:cubicBezTo>
                  <a:pt x="139512" y="139592"/>
                  <a:pt x="121989" y="156450"/>
                  <a:pt x="101770" y="154427"/>
                </a:cubicBezTo>
                <a:close/>
              </a:path>
            </a:pathLst>
          </a:custGeom>
          <a:solidFill>
            <a:schemeClr val="accent3"/>
          </a:solidFill>
          <a:ln w="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4" name="Freeform: Shape 73">
            <a:extLst>
              <a:ext uri="{FF2B5EF4-FFF2-40B4-BE49-F238E27FC236}">
                <a16:creationId xmlns:a16="http://schemas.microsoft.com/office/drawing/2014/main" id="{9DBFD922-C7B4-34D1-FFAF-C64E61AE4EDE}"/>
              </a:ext>
            </a:extLst>
          </p:cNvPr>
          <p:cNvSpPr/>
          <p:nvPr/>
        </p:nvSpPr>
        <p:spPr>
          <a:xfrm>
            <a:off x="6096000" y="4047018"/>
            <a:ext cx="1057800" cy="2403431"/>
          </a:xfrm>
          <a:custGeom>
            <a:avLst/>
            <a:gdLst>
              <a:gd name="connsiteX0" fmla="*/ 552309 w 1057820"/>
              <a:gd name="connsiteY0" fmla="*/ 0 h 2403431"/>
              <a:gd name="connsiteX1" fmla="*/ 1057624 w 1057820"/>
              <a:gd name="connsiteY1" fmla="*/ 1155812 h 2403431"/>
              <a:gd name="connsiteX2" fmla="*/ 1056789 w 1057820"/>
              <a:gd name="connsiteY2" fmla="*/ 1184975 h 2403431"/>
              <a:gd name="connsiteX3" fmla="*/ 1057751 w 1057820"/>
              <a:gd name="connsiteY3" fmla="*/ 1200791 h 2403431"/>
              <a:gd name="connsiteX4" fmla="*/ 1023774 w 1057820"/>
              <a:gd name="connsiteY4" fmla="*/ 1499669 h 2403431"/>
              <a:gd name="connsiteX5" fmla="*/ 1013622 w 1057820"/>
              <a:gd name="connsiteY5" fmla="*/ 1533753 h 2403431"/>
              <a:gd name="connsiteX6" fmla="*/ 998786 w 1057820"/>
              <a:gd name="connsiteY6" fmla="*/ 1617565 h 2403431"/>
              <a:gd name="connsiteX7" fmla="*/ 702705 w 1057820"/>
              <a:gd name="connsiteY7" fmla="*/ 2257073 h 2403431"/>
              <a:gd name="connsiteX8" fmla="*/ 84434 w 1057820"/>
              <a:gd name="connsiteY8" fmla="*/ 2248718 h 2403431"/>
              <a:gd name="connsiteX9" fmla="*/ 117855 w 1057820"/>
              <a:gd name="connsiteY9" fmla="*/ 1705348 h 2403431"/>
              <a:gd name="connsiteX10" fmla="*/ 552309 w 1057820"/>
              <a:gd name="connsiteY10" fmla="*/ 0 h 2403431"/>
              <a:gd name="connsiteX0" fmla="*/ 552309 w 1057820"/>
              <a:gd name="connsiteY0" fmla="*/ 0 h 2403431"/>
              <a:gd name="connsiteX1" fmla="*/ 1057624 w 1057820"/>
              <a:gd name="connsiteY1" fmla="*/ 1155812 h 2403431"/>
              <a:gd name="connsiteX2" fmla="*/ 1056789 w 1057820"/>
              <a:gd name="connsiteY2" fmla="*/ 1184975 h 2403431"/>
              <a:gd name="connsiteX3" fmla="*/ 1057751 w 1057820"/>
              <a:gd name="connsiteY3" fmla="*/ 1200791 h 2403431"/>
              <a:gd name="connsiteX4" fmla="*/ 1023774 w 1057820"/>
              <a:gd name="connsiteY4" fmla="*/ 1499669 h 2403431"/>
              <a:gd name="connsiteX5" fmla="*/ 998786 w 1057820"/>
              <a:gd name="connsiteY5" fmla="*/ 1617565 h 2403431"/>
              <a:gd name="connsiteX6" fmla="*/ 702705 w 1057820"/>
              <a:gd name="connsiteY6" fmla="*/ 2257073 h 2403431"/>
              <a:gd name="connsiteX7" fmla="*/ 84434 w 1057820"/>
              <a:gd name="connsiteY7" fmla="*/ 2248718 h 2403431"/>
              <a:gd name="connsiteX8" fmla="*/ 117855 w 1057820"/>
              <a:gd name="connsiteY8" fmla="*/ 1705348 h 2403431"/>
              <a:gd name="connsiteX9" fmla="*/ 552309 w 1057820"/>
              <a:gd name="connsiteY9" fmla="*/ 0 h 2403431"/>
              <a:gd name="connsiteX0" fmla="*/ 552309 w 1057800"/>
              <a:gd name="connsiteY0" fmla="*/ 0 h 2403431"/>
              <a:gd name="connsiteX1" fmla="*/ 1057624 w 1057800"/>
              <a:gd name="connsiteY1" fmla="*/ 1155812 h 2403431"/>
              <a:gd name="connsiteX2" fmla="*/ 1056789 w 1057800"/>
              <a:gd name="connsiteY2" fmla="*/ 1184975 h 2403431"/>
              <a:gd name="connsiteX3" fmla="*/ 1057751 w 1057800"/>
              <a:gd name="connsiteY3" fmla="*/ 1200791 h 2403431"/>
              <a:gd name="connsiteX4" fmla="*/ 1023774 w 1057800"/>
              <a:gd name="connsiteY4" fmla="*/ 1499669 h 2403431"/>
              <a:gd name="connsiteX5" fmla="*/ 998786 w 1057800"/>
              <a:gd name="connsiteY5" fmla="*/ 1617565 h 2403431"/>
              <a:gd name="connsiteX6" fmla="*/ 702705 w 1057800"/>
              <a:gd name="connsiteY6" fmla="*/ 2257073 h 2403431"/>
              <a:gd name="connsiteX7" fmla="*/ 84434 w 1057800"/>
              <a:gd name="connsiteY7" fmla="*/ 2248718 h 2403431"/>
              <a:gd name="connsiteX8" fmla="*/ 117855 w 1057800"/>
              <a:gd name="connsiteY8" fmla="*/ 1705348 h 2403431"/>
              <a:gd name="connsiteX9" fmla="*/ 552309 w 1057800"/>
              <a:gd name="connsiteY9" fmla="*/ 0 h 240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7800" h="2403431">
                <a:moveTo>
                  <a:pt x="552309" y="0"/>
                </a:moveTo>
                <a:cubicBezTo>
                  <a:pt x="552309" y="0"/>
                  <a:pt x="1044306" y="470228"/>
                  <a:pt x="1057624" y="1155812"/>
                </a:cubicBezTo>
                <a:cubicBezTo>
                  <a:pt x="1057346" y="1165533"/>
                  <a:pt x="1057067" y="1175254"/>
                  <a:pt x="1056789" y="1184975"/>
                </a:cubicBezTo>
                <a:cubicBezTo>
                  <a:pt x="1057110" y="1190247"/>
                  <a:pt x="1057430" y="1195519"/>
                  <a:pt x="1057751" y="1200791"/>
                </a:cubicBezTo>
                <a:cubicBezTo>
                  <a:pt x="1058802" y="1288503"/>
                  <a:pt x="1043109" y="1362948"/>
                  <a:pt x="1023774" y="1499669"/>
                </a:cubicBezTo>
                <a:lnTo>
                  <a:pt x="998786" y="1617565"/>
                </a:lnTo>
                <a:cubicBezTo>
                  <a:pt x="937688" y="1905968"/>
                  <a:pt x="834293" y="2100327"/>
                  <a:pt x="702705" y="2257073"/>
                </a:cubicBezTo>
                <a:cubicBezTo>
                  <a:pt x="543953" y="2457701"/>
                  <a:pt x="243173" y="2449346"/>
                  <a:pt x="84434" y="2248718"/>
                </a:cubicBezTo>
                <a:cubicBezTo>
                  <a:pt x="-40897" y="2081524"/>
                  <a:pt x="-24186" y="1847451"/>
                  <a:pt x="117855" y="1705348"/>
                </a:cubicBezTo>
                <a:cubicBezTo>
                  <a:pt x="393569" y="1429485"/>
                  <a:pt x="752837" y="877746"/>
                  <a:pt x="552309" y="0"/>
                </a:cubicBezTo>
                <a:close/>
              </a:path>
            </a:pathLst>
          </a:custGeom>
          <a:solidFill>
            <a:schemeClr val="accent1"/>
          </a:solidFill>
          <a:ln w="0" cap="flat">
            <a:noFill/>
            <a:prstDash val="solid"/>
            <a:miter/>
          </a:ln>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65" name="Graphic 52" descr="Gears with solid fill">
            <a:extLst>
              <a:ext uri="{FF2B5EF4-FFF2-40B4-BE49-F238E27FC236}">
                <a16:creationId xmlns:a16="http://schemas.microsoft.com/office/drawing/2014/main" id="{22CB2A12-B900-F85B-9F94-73BBBECC030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13415" y="5562088"/>
            <a:ext cx="602873" cy="602873"/>
          </a:xfrm>
          <a:prstGeom prst="rect">
            <a:avLst/>
          </a:prstGeom>
        </p:spPr>
      </p:pic>
      <p:pic>
        <p:nvPicPr>
          <p:cNvPr id="66" name="Graphic 53" descr="Eye with solid fill">
            <a:extLst>
              <a:ext uri="{FF2B5EF4-FFF2-40B4-BE49-F238E27FC236}">
                <a16:creationId xmlns:a16="http://schemas.microsoft.com/office/drawing/2014/main" id="{887E09BF-F2C9-22F6-A9C0-80AF3ABBC27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81776" y="4394733"/>
            <a:ext cx="602873" cy="602873"/>
          </a:xfrm>
          <a:prstGeom prst="rect">
            <a:avLst/>
          </a:prstGeom>
        </p:spPr>
      </p:pic>
      <p:sp>
        <p:nvSpPr>
          <p:cNvPr id="67" name="TextBox 54">
            <a:extLst>
              <a:ext uri="{FF2B5EF4-FFF2-40B4-BE49-F238E27FC236}">
                <a16:creationId xmlns:a16="http://schemas.microsoft.com/office/drawing/2014/main" id="{23A8BAC8-15A7-D566-20B9-7894596DEA9F}"/>
              </a:ext>
            </a:extLst>
          </p:cNvPr>
          <p:cNvSpPr txBox="1"/>
          <p:nvPr/>
        </p:nvSpPr>
        <p:spPr>
          <a:xfrm>
            <a:off x="4872573" y="3237549"/>
            <a:ext cx="687796" cy="369332"/>
          </a:xfrm>
          <a:prstGeom prst="rect">
            <a:avLst/>
          </a:prstGeom>
          <a:noFill/>
        </p:spPr>
        <p:txBody>
          <a:bodyPr wrap="square" lIns="0" r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noProof="1">
                <a:solidFill>
                  <a:schemeClr val="tx1">
                    <a:lumMod val="75000"/>
                    <a:lumOff val="25000"/>
                  </a:schemeClr>
                </a:solidFill>
              </a:rPr>
              <a:t>01</a:t>
            </a:r>
          </a:p>
        </p:txBody>
      </p:sp>
      <p:sp>
        <p:nvSpPr>
          <p:cNvPr id="68" name="TextBox 55">
            <a:extLst>
              <a:ext uri="{FF2B5EF4-FFF2-40B4-BE49-F238E27FC236}">
                <a16:creationId xmlns:a16="http://schemas.microsoft.com/office/drawing/2014/main" id="{7BAA5E42-457E-6274-25EF-8D51F173E204}"/>
              </a:ext>
            </a:extLst>
          </p:cNvPr>
          <p:cNvSpPr txBox="1"/>
          <p:nvPr/>
        </p:nvSpPr>
        <p:spPr>
          <a:xfrm>
            <a:off x="5705856" y="2824254"/>
            <a:ext cx="687796" cy="369332"/>
          </a:xfrm>
          <a:prstGeom prst="rect">
            <a:avLst/>
          </a:prstGeom>
          <a:noFill/>
        </p:spPr>
        <p:txBody>
          <a:bodyPr wrap="square" lIns="0" r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noProof="1">
                <a:solidFill>
                  <a:schemeClr val="bg1"/>
                </a:solidFill>
              </a:rPr>
              <a:t>02</a:t>
            </a:r>
          </a:p>
        </p:txBody>
      </p:sp>
      <p:sp>
        <p:nvSpPr>
          <p:cNvPr id="69" name="TextBox 56">
            <a:extLst>
              <a:ext uri="{FF2B5EF4-FFF2-40B4-BE49-F238E27FC236}">
                <a16:creationId xmlns:a16="http://schemas.microsoft.com/office/drawing/2014/main" id="{FB8CCD65-9C7B-79CE-D5BA-F87E5B0726E0}"/>
              </a:ext>
            </a:extLst>
          </p:cNvPr>
          <p:cNvSpPr txBox="1"/>
          <p:nvPr/>
        </p:nvSpPr>
        <p:spPr>
          <a:xfrm>
            <a:off x="6414931" y="3174650"/>
            <a:ext cx="687796" cy="369332"/>
          </a:xfrm>
          <a:prstGeom prst="rect">
            <a:avLst/>
          </a:prstGeom>
          <a:noFill/>
        </p:spPr>
        <p:txBody>
          <a:bodyPr wrap="square" lIns="0" r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noProof="1">
                <a:solidFill>
                  <a:schemeClr val="tx1">
                    <a:lumMod val="75000"/>
                    <a:lumOff val="25000"/>
                  </a:schemeClr>
                </a:solidFill>
              </a:rPr>
              <a:t>03</a:t>
            </a:r>
          </a:p>
        </p:txBody>
      </p:sp>
      <p:sp>
        <p:nvSpPr>
          <p:cNvPr id="70" name="TextBox 57">
            <a:extLst>
              <a:ext uri="{FF2B5EF4-FFF2-40B4-BE49-F238E27FC236}">
                <a16:creationId xmlns:a16="http://schemas.microsoft.com/office/drawing/2014/main" id="{5D02AE17-7F7A-2D9B-3CA1-ED0D3F1F293A}"/>
              </a:ext>
            </a:extLst>
          </p:cNvPr>
          <p:cNvSpPr txBox="1"/>
          <p:nvPr/>
        </p:nvSpPr>
        <p:spPr>
          <a:xfrm>
            <a:off x="6871942" y="3940385"/>
            <a:ext cx="687796" cy="369332"/>
          </a:xfrm>
          <a:prstGeom prst="rect">
            <a:avLst/>
          </a:prstGeom>
          <a:noFill/>
        </p:spPr>
        <p:txBody>
          <a:bodyPr wrap="square" lIns="0" r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noProof="1">
                <a:solidFill>
                  <a:schemeClr val="tx1">
                    <a:lumMod val="75000"/>
                    <a:lumOff val="25000"/>
                  </a:schemeClr>
                </a:solidFill>
              </a:rPr>
              <a:t>04</a:t>
            </a:r>
          </a:p>
        </p:txBody>
      </p:sp>
      <p:sp>
        <p:nvSpPr>
          <p:cNvPr id="71" name="TextBox 58">
            <a:extLst>
              <a:ext uri="{FF2B5EF4-FFF2-40B4-BE49-F238E27FC236}">
                <a16:creationId xmlns:a16="http://schemas.microsoft.com/office/drawing/2014/main" id="{510EC751-D3BF-E32E-3C93-5955A94855A2}"/>
              </a:ext>
            </a:extLst>
          </p:cNvPr>
          <p:cNvSpPr txBox="1"/>
          <p:nvPr/>
        </p:nvSpPr>
        <p:spPr>
          <a:xfrm>
            <a:off x="6544036" y="4765169"/>
            <a:ext cx="687796" cy="369332"/>
          </a:xfrm>
          <a:prstGeom prst="rect">
            <a:avLst/>
          </a:prstGeom>
          <a:noFill/>
        </p:spPr>
        <p:txBody>
          <a:bodyPr wrap="square" lIns="0" r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noProof="1">
                <a:solidFill>
                  <a:schemeClr val="bg1"/>
                </a:solidFill>
              </a:rPr>
              <a:t>05</a:t>
            </a:r>
          </a:p>
        </p:txBody>
      </p:sp>
      <p:sp>
        <p:nvSpPr>
          <p:cNvPr id="72" name="TextBox 59">
            <a:extLst>
              <a:ext uri="{FF2B5EF4-FFF2-40B4-BE49-F238E27FC236}">
                <a16:creationId xmlns:a16="http://schemas.microsoft.com/office/drawing/2014/main" id="{D3CC9A5D-077D-65EE-C29F-DDAD914EE768}"/>
              </a:ext>
            </a:extLst>
          </p:cNvPr>
          <p:cNvSpPr txBox="1"/>
          <p:nvPr/>
        </p:nvSpPr>
        <p:spPr>
          <a:xfrm>
            <a:off x="5669461" y="5171917"/>
            <a:ext cx="687796" cy="369332"/>
          </a:xfrm>
          <a:prstGeom prst="rect">
            <a:avLst/>
          </a:prstGeom>
          <a:noFill/>
        </p:spPr>
        <p:txBody>
          <a:bodyPr wrap="square" lIns="0" r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noProof="1">
                <a:solidFill>
                  <a:schemeClr val="bg1"/>
                </a:solidFill>
              </a:rPr>
              <a:t>06</a:t>
            </a:r>
          </a:p>
        </p:txBody>
      </p:sp>
      <p:sp>
        <p:nvSpPr>
          <p:cNvPr id="73" name="TextBox 60">
            <a:extLst>
              <a:ext uri="{FF2B5EF4-FFF2-40B4-BE49-F238E27FC236}">
                <a16:creationId xmlns:a16="http://schemas.microsoft.com/office/drawing/2014/main" id="{D46AE11D-4F19-AED9-9C8F-D4950998A055}"/>
              </a:ext>
            </a:extLst>
          </p:cNvPr>
          <p:cNvSpPr txBox="1"/>
          <p:nvPr/>
        </p:nvSpPr>
        <p:spPr>
          <a:xfrm>
            <a:off x="4902750" y="4778777"/>
            <a:ext cx="687796"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noProof="1">
                <a:solidFill>
                  <a:schemeClr val="bg1"/>
                </a:solidFill>
              </a:rPr>
              <a:t>07</a:t>
            </a:r>
          </a:p>
        </p:txBody>
      </p:sp>
      <p:sp>
        <p:nvSpPr>
          <p:cNvPr id="74" name="TextBox 61">
            <a:extLst>
              <a:ext uri="{FF2B5EF4-FFF2-40B4-BE49-F238E27FC236}">
                <a16:creationId xmlns:a16="http://schemas.microsoft.com/office/drawing/2014/main" id="{531DB0E5-AB2F-A418-EF16-C55C4A08929F}"/>
              </a:ext>
            </a:extLst>
          </p:cNvPr>
          <p:cNvSpPr txBox="1"/>
          <p:nvPr/>
        </p:nvSpPr>
        <p:spPr>
          <a:xfrm>
            <a:off x="4558852" y="4087937"/>
            <a:ext cx="687796" cy="369332"/>
          </a:xfrm>
          <a:prstGeom prst="rect">
            <a:avLst/>
          </a:prstGeom>
          <a:noFill/>
        </p:spPr>
        <p:txBody>
          <a:bodyPr wrap="square" lIns="0" rIns="0" rtlCol="0" anchor="ctr">
            <a:spAutoFit/>
          </a:bodyPr>
          <a:lstStyle>
            <a:defPPr>
              <a:defRPr lang="en-US"/>
            </a:defPPr>
            <a:lvl1pPr marL="0" algn="ctr" defTabSz="914400" rtl="0" eaLnBrk="1" latinLnBrk="0" hangingPunct="1">
              <a:defRPr sz="1800" b="1"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noProof="1"/>
              <a:t>08</a:t>
            </a:r>
          </a:p>
        </p:txBody>
      </p:sp>
      <p:pic>
        <p:nvPicPr>
          <p:cNvPr id="75" name="Picture 5">
            <a:extLst>
              <a:ext uri="{FF2B5EF4-FFF2-40B4-BE49-F238E27FC236}">
                <a16:creationId xmlns:a16="http://schemas.microsoft.com/office/drawing/2014/main" id="{5588659D-90AD-4DA3-95D2-0A1F667F2C3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55184" y="2056001"/>
            <a:ext cx="470724" cy="470724"/>
          </a:xfrm>
          <a:prstGeom prst="rect">
            <a:avLst/>
          </a:prstGeom>
        </p:spPr>
      </p:pic>
      <p:pic>
        <p:nvPicPr>
          <p:cNvPr id="76" name="Picture 11">
            <a:extLst>
              <a:ext uri="{FF2B5EF4-FFF2-40B4-BE49-F238E27FC236}">
                <a16:creationId xmlns:a16="http://schemas.microsoft.com/office/drawing/2014/main" id="{BE735C4C-31D9-4A21-B19F-A265772C492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7228" y="2291363"/>
            <a:ext cx="470724" cy="470724"/>
          </a:xfrm>
          <a:prstGeom prst="rect">
            <a:avLst/>
          </a:prstGeom>
        </p:spPr>
      </p:pic>
      <p:pic>
        <p:nvPicPr>
          <p:cNvPr id="77" name="Picture 17">
            <a:extLst>
              <a:ext uri="{FF2B5EF4-FFF2-40B4-BE49-F238E27FC236}">
                <a16:creationId xmlns:a16="http://schemas.microsoft.com/office/drawing/2014/main" id="{14D2C556-28B3-42B0-BCD9-83A3B8EE422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578886" y="3356585"/>
            <a:ext cx="549896" cy="549896"/>
          </a:xfrm>
          <a:prstGeom prst="rect">
            <a:avLst/>
          </a:prstGeom>
        </p:spPr>
      </p:pic>
      <p:pic>
        <p:nvPicPr>
          <p:cNvPr id="78" name="Picture 23">
            <a:extLst>
              <a:ext uri="{FF2B5EF4-FFF2-40B4-BE49-F238E27FC236}">
                <a16:creationId xmlns:a16="http://schemas.microsoft.com/office/drawing/2014/main" id="{4B79F661-46BE-4AD0-9A79-30C768A49CC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387329" y="4929922"/>
            <a:ext cx="540165" cy="540165"/>
          </a:xfrm>
          <a:prstGeom prst="rect">
            <a:avLst/>
          </a:prstGeom>
        </p:spPr>
      </p:pic>
      <p:pic>
        <p:nvPicPr>
          <p:cNvPr id="79" name="Picture 31">
            <a:extLst>
              <a:ext uri="{FF2B5EF4-FFF2-40B4-BE49-F238E27FC236}">
                <a16:creationId xmlns:a16="http://schemas.microsoft.com/office/drawing/2014/main" id="{692E8FDE-E878-4D91-B804-D3672728166D}"/>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rot="10800000" flipV="1">
            <a:off x="6290947" y="5794512"/>
            <a:ext cx="497581" cy="497581"/>
          </a:xfrm>
          <a:prstGeom prst="rect">
            <a:avLst/>
          </a:prstGeom>
        </p:spPr>
      </p:pic>
      <p:pic>
        <p:nvPicPr>
          <p:cNvPr id="80" name="Picture 62">
            <a:extLst>
              <a:ext uri="{FF2B5EF4-FFF2-40B4-BE49-F238E27FC236}">
                <a16:creationId xmlns:a16="http://schemas.microsoft.com/office/drawing/2014/main" id="{115EF7AB-0681-480A-93C4-2F93CD429212}"/>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10800000" flipV="1">
            <a:off x="4178677" y="2932789"/>
            <a:ext cx="480928" cy="480928"/>
          </a:xfrm>
          <a:prstGeom prst="rect">
            <a:avLst/>
          </a:prstGeom>
        </p:spPr>
      </p:pic>
      <p:sp>
        <p:nvSpPr>
          <p:cNvPr id="3" name="Rectangle 2">
            <a:extLst>
              <a:ext uri="{FF2B5EF4-FFF2-40B4-BE49-F238E27FC236}">
                <a16:creationId xmlns:a16="http://schemas.microsoft.com/office/drawing/2014/main" id="{3EC602D2-CE73-490C-93BD-84C3167220A8}"/>
              </a:ext>
            </a:extLst>
          </p:cNvPr>
          <p:cNvSpPr/>
          <p:nvPr/>
        </p:nvSpPr>
        <p:spPr>
          <a:xfrm>
            <a:off x="11582299" y="6319509"/>
            <a:ext cx="601447" cy="584775"/>
          </a:xfrm>
          <a:prstGeom prst="rect">
            <a:avLst/>
          </a:prstGeom>
        </p:spPr>
        <p:txBody>
          <a:bodyPr wrap="none">
            <a:spAutoFit/>
          </a:bodyPr>
          <a:lstStyle/>
          <a:p>
            <a:r>
              <a:rPr lang="en-US"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15</a:t>
            </a:r>
            <a:endParaRPr lang="fr-TN" sz="3200" dirty="0"/>
          </a:p>
        </p:txBody>
      </p:sp>
    </p:spTree>
    <p:extLst>
      <p:ext uri="{BB962C8B-B14F-4D97-AF65-F5344CB8AC3E}">
        <p14:creationId xmlns:p14="http://schemas.microsoft.com/office/powerpoint/2010/main" val="53815445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39A1B-3CF5-4AEB-69A2-4E8F891B055A}"/>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F9C45B95-2B0F-90AC-2468-3FB1D8C99D44}"/>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cxnSp>
        <p:nvCxnSpPr>
          <p:cNvPr id="10" name="Straight Connector 9">
            <a:extLst>
              <a:ext uri="{FF2B5EF4-FFF2-40B4-BE49-F238E27FC236}">
                <a16:creationId xmlns:a16="http://schemas.microsoft.com/office/drawing/2014/main" id="{7007A046-BF4F-7AE8-10F1-11F6FA23A07C}"/>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5" name="!!model">
            <a:extLst>
              <a:ext uri="{FF2B5EF4-FFF2-40B4-BE49-F238E27FC236}">
                <a16:creationId xmlns:a16="http://schemas.microsoft.com/office/drawing/2014/main" id="{04848ABA-4966-E156-C07E-65D6CEC1307A}"/>
              </a:ext>
            </a:extLst>
          </p:cNvPr>
          <p:cNvGrpSpPr/>
          <p:nvPr/>
        </p:nvGrpSpPr>
        <p:grpSpPr>
          <a:xfrm>
            <a:off x="5842207" y="369986"/>
            <a:ext cx="507586" cy="507586"/>
            <a:chOff x="5832785" y="1868829"/>
            <a:chExt cx="507586" cy="507586"/>
          </a:xfrm>
        </p:grpSpPr>
        <p:sp>
          <p:nvSpPr>
            <p:cNvPr id="26" name="Oval 25">
              <a:extLst>
                <a:ext uri="{FF2B5EF4-FFF2-40B4-BE49-F238E27FC236}">
                  <a16:creationId xmlns:a16="http://schemas.microsoft.com/office/drawing/2014/main" id="{4DA4E5C1-9593-13CB-94E7-367A7600D8CF}"/>
                </a:ext>
              </a:extLst>
            </p:cNvPr>
            <p:cNvSpPr/>
            <p:nvPr/>
          </p:nvSpPr>
          <p:spPr>
            <a:xfrm>
              <a:off x="5832785" y="1868829"/>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7" name="Graphic 26">
              <a:extLst>
                <a:ext uri="{FF2B5EF4-FFF2-40B4-BE49-F238E27FC236}">
                  <a16:creationId xmlns:a16="http://schemas.microsoft.com/office/drawing/2014/main" id="{4F092ADA-4F7D-F0DA-F81B-E299CF19DC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60578" y="1996622"/>
              <a:ext cx="252000" cy="252000"/>
            </a:xfrm>
            <a:prstGeom prst="rect">
              <a:avLst/>
            </a:prstGeom>
          </p:spPr>
        </p:pic>
      </p:grpSp>
      <p:sp>
        <p:nvSpPr>
          <p:cNvPr id="21" name="TextBox 20">
            <a:extLst>
              <a:ext uri="{FF2B5EF4-FFF2-40B4-BE49-F238E27FC236}">
                <a16:creationId xmlns:a16="http://schemas.microsoft.com/office/drawing/2014/main" id="{6954526A-77B0-2E99-8B61-A765E2F2409B}"/>
              </a:ext>
            </a:extLst>
          </p:cNvPr>
          <p:cNvSpPr txBox="1"/>
          <p:nvPr/>
        </p:nvSpPr>
        <p:spPr>
          <a:xfrm>
            <a:off x="234546" y="1056986"/>
            <a:ext cx="5328053" cy="1030410"/>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800" dirty="0"/>
              <a:t>Stratégie de tarification</a:t>
            </a:r>
            <a:endParaRPr lang="en-GB" sz="4800" dirty="0"/>
          </a:p>
        </p:txBody>
      </p:sp>
      <p:sp>
        <p:nvSpPr>
          <p:cNvPr id="4" name="TextBox 1">
            <a:extLst>
              <a:ext uri="{FF2B5EF4-FFF2-40B4-BE49-F238E27FC236}">
                <a16:creationId xmlns:a16="http://schemas.microsoft.com/office/drawing/2014/main" id="{12E9495F-9866-0953-B987-C9D758C14BDB}"/>
              </a:ext>
            </a:extLst>
          </p:cNvPr>
          <p:cNvSpPr txBox="1"/>
          <p:nvPr/>
        </p:nvSpPr>
        <p:spPr>
          <a:xfrm>
            <a:off x="908648" y="407551"/>
            <a:ext cx="1239122"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Commerciale</a:t>
            </a:r>
          </a:p>
        </p:txBody>
      </p:sp>
      <p:pic>
        <p:nvPicPr>
          <p:cNvPr id="35" name="Image 34">
            <a:extLst>
              <a:ext uri="{FF2B5EF4-FFF2-40B4-BE49-F238E27FC236}">
                <a16:creationId xmlns:a16="http://schemas.microsoft.com/office/drawing/2014/main" id="{C34F2E09-B86B-C465-DF35-DB4FA7784980}"/>
              </a:ext>
            </a:extLst>
          </p:cNvPr>
          <p:cNvPicPr>
            <a:picLocks noChangeAspect="1"/>
          </p:cNvPicPr>
          <p:nvPr/>
        </p:nvPicPr>
        <p:blipFill>
          <a:blip r:embed="rId5"/>
          <a:stretch>
            <a:fillRect/>
          </a:stretch>
        </p:blipFill>
        <p:spPr>
          <a:xfrm>
            <a:off x="3810000" y="1069612"/>
            <a:ext cx="7805420" cy="5203613"/>
          </a:xfrm>
          <a:prstGeom prst="rect">
            <a:avLst/>
          </a:prstGeom>
        </p:spPr>
      </p:pic>
      <p:sp>
        <p:nvSpPr>
          <p:cNvPr id="3" name="Rectangle 2">
            <a:extLst>
              <a:ext uri="{FF2B5EF4-FFF2-40B4-BE49-F238E27FC236}">
                <a16:creationId xmlns:a16="http://schemas.microsoft.com/office/drawing/2014/main" id="{13A393DB-9A0A-42AB-82DE-18BE17B8615C}"/>
              </a:ext>
            </a:extLst>
          </p:cNvPr>
          <p:cNvSpPr/>
          <p:nvPr/>
        </p:nvSpPr>
        <p:spPr>
          <a:xfrm>
            <a:off x="11515288" y="6285851"/>
            <a:ext cx="601447" cy="584775"/>
          </a:xfrm>
          <a:prstGeom prst="rect">
            <a:avLst/>
          </a:prstGeom>
        </p:spPr>
        <p:txBody>
          <a:bodyPr wrap="none">
            <a:spAutoFit/>
          </a:bodyPr>
          <a:lstStyle/>
          <a:p>
            <a:r>
              <a:rPr lang="en-US"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16</a:t>
            </a:r>
            <a:endParaRPr lang="fr-TN" sz="3200" dirty="0"/>
          </a:p>
        </p:txBody>
      </p:sp>
    </p:spTree>
    <p:extLst>
      <p:ext uri="{BB962C8B-B14F-4D97-AF65-F5344CB8AC3E}">
        <p14:creationId xmlns:p14="http://schemas.microsoft.com/office/powerpoint/2010/main" val="181692788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03FEEF-71A3-2C34-9C0B-2A42D8615C8E}"/>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5F88676C-8A1D-72B2-CC56-92746C15BC86}"/>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cxnSp>
        <p:nvCxnSpPr>
          <p:cNvPr id="10" name="Straight Connector 9">
            <a:extLst>
              <a:ext uri="{FF2B5EF4-FFF2-40B4-BE49-F238E27FC236}">
                <a16:creationId xmlns:a16="http://schemas.microsoft.com/office/drawing/2014/main" id="{8F47D1E6-A94B-D819-CF7B-5F57F3F442AB}"/>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5" name="!!model">
            <a:extLst>
              <a:ext uri="{FF2B5EF4-FFF2-40B4-BE49-F238E27FC236}">
                <a16:creationId xmlns:a16="http://schemas.microsoft.com/office/drawing/2014/main" id="{DDDE8D42-0091-E924-693A-36167B477204}"/>
              </a:ext>
            </a:extLst>
          </p:cNvPr>
          <p:cNvGrpSpPr/>
          <p:nvPr/>
        </p:nvGrpSpPr>
        <p:grpSpPr>
          <a:xfrm>
            <a:off x="5842207" y="369986"/>
            <a:ext cx="507586" cy="507586"/>
            <a:chOff x="5832785" y="1868829"/>
            <a:chExt cx="507586" cy="507586"/>
          </a:xfrm>
        </p:grpSpPr>
        <p:sp>
          <p:nvSpPr>
            <p:cNvPr id="26" name="Oval 25">
              <a:extLst>
                <a:ext uri="{FF2B5EF4-FFF2-40B4-BE49-F238E27FC236}">
                  <a16:creationId xmlns:a16="http://schemas.microsoft.com/office/drawing/2014/main" id="{86DC6054-7A21-4390-C194-5AD6D32D0511}"/>
                </a:ext>
              </a:extLst>
            </p:cNvPr>
            <p:cNvSpPr/>
            <p:nvPr/>
          </p:nvSpPr>
          <p:spPr>
            <a:xfrm>
              <a:off x="5832785" y="1868829"/>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7" name="Graphic 26">
              <a:extLst>
                <a:ext uri="{FF2B5EF4-FFF2-40B4-BE49-F238E27FC236}">
                  <a16:creationId xmlns:a16="http://schemas.microsoft.com/office/drawing/2014/main" id="{5A002928-A843-7228-008F-7435390C72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60578" y="1996622"/>
              <a:ext cx="252000" cy="252000"/>
            </a:xfrm>
            <a:prstGeom prst="rect">
              <a:avLst/>
            </a:prstGeom>
          </p:spPr>
        </p:pic>
      </p:grpSp>
      <p:sp>
        <p:nvSpPr>
          <p:cNvPr id="21" name="TextBox 20">
            <a:extLst>
              <a:ext uri="{FF2B5EF4-FFF2-40B4-BE49-F238E27FC236}">
                <a16:creationId xmlns:a16="http://schemas.microsoft.com/office/drawing/2014/main" id="{8AEB91A7-048E-51F6-D3A3-A1A78257D52A}"/>
              </a:ext>
            </a:extLst>
          </p:cNvPr>
          <p:cNvSpPr txBox="1"/>
          <p:nvPr/>
        </p:nvSpPr>
        <p:spPr>
          <a:xfrm>
            <a:off x="234546" y="1056986"/>
            <a:ext cx="5328053" cy="587212"/>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800" dirty="0"/>
              <a:t>Analyse SWOT</a:t>
            </a:r>
            <a:endParaRPr lang="en-GB" sz="4800" dirty="0"/>
          </a:p>
        </p:txBody>
      </p:sp>
      <p:sp>
        <p:nvSpPr>
          <p:cNvPr id="4" name="TextBox 1">
            <a:extLst>
              <a:ext uri="{FF2B5EF4-FFF2-40B4-BE49-F238E27FC236}">
                <a16:creationId xmlns:a16="http://schemas.microsoft.com/office/drawing/2014/main" id="{288D92E4-559E-58CE-D9A3-393FD4B40942}"/>
              </a:ext>
            </a:extLst>
          </p:cNvPr>
          <p:cNvSpPr txBox="1"/>
          <p:nvPr/>
        </p:nvSpPr>
        <p:spPr>
          <a:xfrm>
            <a:off x="908648" y="407551"/>
            <a:ext cx="1239122"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Commerciale</a:t>
            </a:r>
          </a:p>
        </p:txBody>
      </p:sp>
      <p:sp>
        <p:nvSpPr>
          <p:cNvPr id="76" name="Freeform 18">
            <a:extLst>
              <a:ext uri="{FF2B5EF4-FFF2-40B4-BE49-F238E27FC236}">
                <a16:creationId xmlns:a16="http://schemas.microsoft.com/office/drawing/2014/main" id="{D46912A5-4E9F-4483-DD70-8E0EF8FBCAD5}"/>
              </a:ext>
            </a:extLst>
          </p:cNvPr>
          <p:cNvSpPr/>
          <p:nvPr/>
        </p:nvSpPr>
        <p:spPr>
          <a:xfrm>
            <a:off x="6172987" y="4094385"/>
            <a:ext cx="1909119" cy="1909321"/>
          </a:xfrm>
          <a:custGeom>
            <a:avLst/>
            <a:gdLst>
              <a:gd name="connsiteX0" fmla="*/ 208095 w 208428"/>
              <a:gd name="connsiteY0" fmla="*/ 12174 h 208450"/>
              <a:gd name="connsiteX1" fmla="*/ 146362 w 208428"/>
              <a:gd name="connsiteY1" fmla="*/ 146667 h 208450"/>
              <a:gd name="connsiteX2" fmla="*/ 11883 w 208428"/>
              <a:gd name="connsiteY2" fmla="*/ 208407 h 208450"/>
              <a:gd name="connsiteX3" fmla="*/ 0 w 208428"/>
              <a:gd name="connsiteY3" fmla="*/ 197392 h 208450"/>
              <a:gd name="connsiteX4" fmla="*/ 0 w 208428"/>
              <a:gd name="connsiteY4" fmla="*/ 91305 h 208450"/>
              <a:gd name="connsiteX5" fmla="*/ 9274 w 208428"/>
              <a:gd name="connsiteY5" fmla="*/ 80290 h 208450"/>
              <a:gd name="connsiteX6" fmla="*/ 56226 w 208428"/>
              <a:gd name="connsiteY6" fmla="*/ 56232 h 208450"/>
              <a:gd name="connsiteX7" fmla="*/ 80282 w 208428"/>
              <a:gd name="connsiteY7" fmla="*/ 9275 h 208450"/>
              <a:gd name="connsiteX8" fmla="*/ 91295 w 208428"/>
              <a:gd name="connsiteY8" fmla="*/ 0 h 208450"/>
              <a:gd name="connsiteX9" fmla="*/ 197372 w 208428"/>
              <a:gd name="connsiteY9" fmla="*/ 0 h 208450"/>
              <a:gd name="connsiteX10" fmla="*/ 208385 w 208428"/>
              <a:gd name="connsiteY10" fmla="*/ 11884 h 20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8428" h="208450">
                <a:moveTo>
                  <a:pt x="208095" y="12174"/>
                </a:moveTo>
                <a:cubicBezTo>
                  <a:pt x="204327" y="62899"/>
                  <a:pt x="182880" y="110435"/>
                  <a:pt x="146362" y="146667"/>
                </a:cubicBezTo>
                <a:cubicBezTo>
                  <a:pt x="109844" y="183189"/>
                  <a:pt x="62602" y="204638"/>
                  <a:pt x="11883" y="208407"/>
                </a:cubicBezTo>
                <a:cubicBezTo>
                  <a:pt x="5507" y="208986"/>
                  <a:pt x="0" y="203769"/>
                  <a:pt x="0" y="197392"/>
                </a:cubicBezTo>
                <a:lnTo>
                  <a:pt x="0" y="91305"/>
                </a:lnTo>
                <a:cubicBezTo>
                  <a:pt x="0" y="85797"/>
                  <a:pt x="4058" y="81160"/>
                  <a:pt x="9274" y="80290"/>
                </a:cubicBezTo>
                <a:cubicBezTo>
                  <a:pt x="26374" y="77682"/>
                  <a:pt x="42894" y="69566"/>
                  <a:pt x="56226" y="56232"/>
                </a:cubicBezTo>
                <a:cubicBezTo>
                  <a:pt x="69558" y="42899"/>
                  <a:pt x="77383" y="26667"/>
                  <a:pt x="80282" y="9275"/>
                </a:cubicBezTo>
                <a:cubicBezTo>
                  <a:pt x="81151" y="4058"/>
                  <a:pt x="85788" y="0"/>
                  <a:pt x="91295" y="0"/>
                </a:cubicBezTo>
                <a:lnTo>
                  <a:pt x="197372" y="0"/>
                </a:lnTo>
                <a:cubicBezTo>
                  <a:pt x="203748" y="0"/>
                  <a:pt x="208965" y="5507"/>
                  <a:pt x="208385" y="11884"/>
                </a:cubicBezTo>
                <a:close/>
              </a:path>
            </a:pathLst>
          </a:custGeom>
          <a:solidFill>
            <a:schemeClr val="accent2"/>
          </a:solidFill>
          <a:ln w="0" cap="flat">
            <a:noFill/>
            <a:prstDash val="solid"/>
            <a:miter/>
          </a:ln>
        </p:spPr>
        <p:txBody>
          <a:bodyPr rtlCol="0" anchor="ctr"/>
          <a:lstStyle/>
          <a:p>
            <a:endParaRPr lang="en-US"/>
          </a:p>
        </p:txBody>
      </p:sp>
      <p:sp>
        <p:nvSpPr>
          <p:cNvPr id="77" name="Freeform 19">
            <a:extLst>
              <a:ext uri="{FF2B5EF4-FFF2-40B4-BE49-F238E27FC236}">
                <a16:creationId xmlns:a16="http://schemas.microsoft.com/office/drawing/2014/main" id="{A98A253D-F991-D91A-C7EA-265C4154E58F}"/>
              </a:ext>
            </a:extLst>
          </p:cNvPr>
          <p:cNvSpPr/>
          <p:nvPr/>
        </p:nvSpPr>
        <p:spPr>
          <a:xfrm>
            <a:off x="6170331" y="2108069"/>
            <a:ext cx="1909128" cy="1909321"/>
          </a:xfrm>
          <a:custGeom>
            <a:avLst/>
            <a:gdLst>
              <a:gd name="connsiteX0" fmla="*/ 208385 w 208429"/>
              <a:gd name="connsiteY0" fmla="*/ 196567 h 208450"/>
              <a:gd name="connsiteX1" fmla="*/ 197371 w 208429"/>
              <a:gd name="connsiteY1" fmla="*/ 208451 h 208450"/>
              <a:gd name="connsiteX2" fmla="*/ 91295 w 208429"/>
              <a:gd name="connsiteY2" fmla="*/ 208451 h 208450"/>
              <a:gd name="connsiteX3" fmla="*/ 80282 w 208429"/>
              <a:gd name="connsiteY3" fmla="*/ 199175 h 208450"/>
              <a:gd name="connsiteX4" fmla="*/ 56226 w 208429"/>
              <a:gd name="connsiteY4" fmla="*/ 152218 h 208450"/>
              <a:gd name="connsiteX5" fmla="*/ 9274 w 208429"/>
              <a:gd name="connsiteY5" fmla="*/ 128161 h 208450"/>
              <a:gd name="connsiteX6" fmla="*/ 0 w 208429"/>
              <a:gd name="connsiteY6" fmla="*/ 117146 h 208450"/>
              <a:gd name="connsiteX7" fmla="*/ 0 w 208429"/>
              <a:gd name="connsiteY7" fmla="*/ 11059 h 208450"/>
              <a:gd name="connsiteX8" fmla="*/ 11883 w 208429"/>
              <a:gd name="connsiteY8" fmla="*/ 44 h 208450"/>
              <a:gd name="connsiteX9" fmla="*/ 146362 w 208429"/>
              <a:gd name="connsiteY9" fmla="*/ 61783 h 208450"/>
              <a:gd name="connsiteX10" fmla="*/ 208095 w 208429"/>
              <a:gd name="connsiteY10" fmla="*/ 196277 h 20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8429" h="208450">
                <a:moveTo>
                  <a:pt x="208385" y="196567"/>
                </a:moveTo>
                <a:cubicBezTo>
                  <a:pt x="208964" y="202943"/>
                  <a:pt x="203747" y="208451"/>
                  <a:pt x="197371" y="208451"/>
                </a:cubicBezTo>
                <a:lnTo>
                  <a:pt x="91295" y="208451"/>
                </a:lnTo>
                <a:cubicBezTo>
                  <a:pt x="85788" y="208451"/>
                  <a:pt x="81151" y="204393"/>
                  <a:pt x="80282" y="199175"/>
                </a:cubicBezTo>
                <a:cubicBezTo>
                  <a:pt x="77673" y="182074"/>
                  <a:pt x="69558" y="165552"/>
                  <a:pt x="56226" y="152218"/>
                </a:cubicBezTo>
                <a:cubicBezTo>
                  <a:pt x="42894" y="138885"/>
                  <a:pt x="26664" y="131059"/>
                  <a:pt x="9274" y="128161"/>
                </a:cubicBezTo>
                <a:cubicBezTo>
                  <a:pt x="4058" y="127291"/>
                  <a:pt x="0" y="122653"/>
                  <a:pt x="0" y="117146"/>
                </a:cubicBezTo>
                <a:lnTo>
                  <a:pt x="0" y="11059"/>
                </a:lnTo>
                <a:cubicBezTo>
                  <a:pt x="0" y="4682"/>
                  <a:pt x="5507" y="-536"/>
                  <a:pt x="11883" y="44"/>
                </a:cubicBezTo>
                <a:cubicBezTo>
                  <a:pt x="62602" y="3812"/>
                  <a:pt x="110134" y="25262"/>
                  <a:pt x="146362" y="61783"/>
                </a:cubicBezTo>
                <a:cubicBezTo>
                  <a:pt x="182880" y="98305"/>
                  <a:pt x="204327" y="145552"/>
                  <a:pt x="208095" y="196277"/>
                </a:cubicBezTo>
                <a:close/>
              </a:path>
            </a:pathLst>
          </a:custGeom>
          <a:solidFill>
            <a:schemeClr val="accent5"/>
          </a:solidFill>
          <a:ln w="0" cap="flat">
            <a:noFill/>
            <a:prstDash val="solid"/>
            <a:miter/>
          </a:ln>
        </p:spPr>
        <p:txBody>
          <a:bodyPr rtlCol="0" anchor="ctr"/>
          <a:lstStyle/>
          <a:p>
            <a:endParaRPr lang="en-US"/>
          </a:p>
        </p:txBody>
      </p:sp>
      <p:sp>
        <p:nvSpPr>
          <p:cNvPr id="78" name="Freeform 20">
            <a:extLst>
              <a:ext uri="{FF2B5EF4-FFF2-40B4-BE49-F238E27FC236}">
                <a16:creationId xmlns:a16="http://schemas.microsoft.com/office/drawing/2014/main" id="{ECE1BED4-51E4-92D1-6F33-8A7261AA555F}"/>
              </a:ext>
            </a:extLst>
          </p:cNvPr>
          <p:cNvSpPr/>
          <p:nvPr/>
        </p:nvSpPr>
        <p:spPr>
          <a:xfrm>
            <a:off x="4184216" y="2113372"/>
            <a:ext cx="1909128" cy="1906664"/>
          </a:xfrm>
          <a:custGeom>
            <a:avLst/>
            <a:gdLst>
              <a:gd name="connsiteX0" fmla="*/ 208429 w 208429"/>
              <a:gd name="connsiteY0" fmla="*/ 10769 h 208160"/>
              <a:gd name="connsiteX1" fmla="*/ 208429 w 208429"/>
              <a:gd name="connsiteY1" fmla="*/ 116856 h 208160"/>
              <a:gd name="connsiteX2" fmla="*/ 199155 w 208429"/>
              <a:gd name="connsiteY2" fmla="*/ 127871 h 208160"/>
              <a:gd name="connsiteX3" fmla="*/ 152203 w 208429"/>
              <a:gd name="connsiteY3" fmla="*/ 151929 h 208160"/>
              <a:gd name="connsiteX4" fmla="*/ 128147 w 208429"/>
              <a:gd name="connsiteY4" fmla="*/ 198885 h 208160"/>
              <a:gd name="connsiteX5" fmla="*/ 117134 w 208429"/>
              <a:gd name="connsiteY5" fmla="*/ 208161 h 208160"/>
              <a:gd name="connsiteX6" fmla="*/ 11058 w 208429"/>
              <a:gd name="connsiteY6" fmla="*/ 208161 h 208160"/>
              <a:gd name="connsiteX7" fmla="*/ 44 w 208429"/>
              <a:gd name="connsiteY7" fmla="*/ 196277 h 208160"/>
              <a:gd name="connsiteX8" fmla="*/ 61777 w 208429"/>
              <a:gd name="connsiteY8" fmla="*/ 61783 h 208160"/>
              <a:gd name="connsiteX9" fmla="*/ 196256 w 208429"/>
              <a:gd name="connsiteY9" fmla="*/ 44 h 208160"/>
              <a:gd name="connsiteX10" fmla="*/ 208139 w 208429"/>
              <a:gd name="connsiteY10" fmla="*/ 11059 h 20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8429" h="208160">
                <a:moveTo>
                  <a:pt x="208429" y="10769"/>
                </a:moveTo>
                <a:lnTo>
                  <a:pt x="208429" y="116856"/>
                </a:lnTo>
                <a:cubicBezTo>
                  <a:pt x="208429" y="122363"/>
                  <a:pt x="204371" y="127001"/>
                  <a:pt x="199155" y="127871"/>
                </a:cubicBezTo>
                <a:cubicBezTo>
                  <a:pt x="182055" y="130479"/>
                  <a:pt x="165535" y="138595"/>
                  <a:pt x="152203" y="151929"/>
                </a:cubicBezTo>
                <a:cubicBezTo>
                  <a:pt x="138871" y="165262"/>
                  <a:pt x="131046" y="181494"/>
                  <a:pt x="128147" y="198885"/>
                </a:cubicBezTo>
                <a:cubicBezTo>
                  <a:pt x="127278" y="204103"/>
                  <a:pt x="122641" y="208161"/>
                  <a:pt x="117134" y="208161"/>
                </a:cubicBezTo>
                <a:lnTo>
                  <a:pt x="11058" y="208161"/>
                </a:lnTo>
                <a:cubicBezTo>
                  <a:pt x="4681" y="208161"/>
                  <a:pt x="-535" y="202654"/>
                  <a:pt x="44" y="196277"/>
                </a:cubicBezTo>
                <a:cubicBezTo>
                  <a:pt x="3812" y="145552"/>
                  <a:pt x="25259" y="98015"/>
                  <a:pt x="61777" y="61783"/>
                </a:cubicBezTo>
                <a:cubicBezTo>
                  <a:pt x="98295" y="25261"/>
                  <a:pt x="145537" y="3812"/>
                  <a:pt x="196256" y="44"/>
                </a:cubicBezTo>
                <a:cubicBezTo>
                  <a:pt x="202633" y="-536"/>
                  <a:pt x="208139" y="4682"/>
                  <a:pt x="208139" y="11059"/>
                </a:cubicBezTo>
                <a:close/>
              </a:path>
            </a:pathLst>
          </a:custGeom>
          <a:solidFill>
            <a:schemeClr val="accent1"/>
          </a:solidFill>
          <a:ln w="0" cap="flat">
            <a:noFill/>
            <a:prstDash val="solid"/>
            <a:miter/>
          </a:ln>
        </p:spPr>
        <p:txBody>
          <a:bodyPr rtlCol="0" anchor="ctr"/>
          <a:lstStyle/>
          <a:p>
            <a:endParaRPr lang="en-US" dirty="0"/>
          </a:p>
        </p:txBody>
      </p:sp>
      <p:sp>
        <p:nvSpPr>
          <p:cNvPr id="79" name="Freeform 21">
            <a:extLst>
              <a:ext uri="{FF2B5EF4-FFF2-40B4-BE49-F238E27FC236}">
                <a16:creationId xmlns:a16="http://schemas.microsoft.com/office/drawing/2014/main" id="{681B2A61-E956-BBD9-9A0E-4819C6548A5E}"/>
              </a:ext>
            </a:extLst>
          </p:cNvPr>
          <p:cNvSpPr/>
          <p:nvPr/>
        </p:nvSpPr>
        <p:spPr>
          <a:xfrm>
            <a:off x="4186872" y="4097042"/>
            <a:ext cx="1909128" cy="1906673"/>
          </a:xfrm>
          <a:custGeom>
            <a:avLst/>
            <a:gdLst>
              <a:gd name="connsiteX0" fmla="*/ 208139 w 208429"/>
              <a:gd name="connsiteY0" fmla="*/ 91015 h 208161"/>
              <a:gd name="connsiteX1" fmla="*/ 208139 w 208429"/>
              <a:gd name="connsiteY1" fmla="*/ 197102 h 208161"/>
              <a:gd name="connsiteX2" fmla="*/ 196256 w 208429"/>
              <a:gd name="connsiteY2" fmla="*/ 208117 h 208161"/>
              <a:gd name="connsiteX3" fmla="*/ 61777 w 208429"/>
              <a:gd name="connsiteY3" fmla="*/ 146377 h 208161"/>
              <a:gd name="connsiteX4" fmla="*/ 44 w 208429"/>
              <a:gd name="connsiteY4" fmla="*/ 11884 h 208161"/>
              <a:gd name="connsiteX5" fmla="*/ 11058 w 208429"/>
              <a:gd name="connsiteY5" fmla="*/ 0 h 208161"/>
              <a:gd name="connsiteX6" fmla="*/ 117134 w 208429"/>
              <a:gd name="connsiteY6" fmla="*/ 0 h 208161"/>
              <a:gd name="connsiteX7" fmla="*/ 128147 w 208429"/>
              <a:gd name="connsiteY7" fmla="*/ 9276 h 208161"/>
              <a:gd name="connsiteX8" fmla="*/ 152203 w 208429"/>
              <a:gd name="connsiteY8" fmla="*/ 56232 h 208161"/>
              <a:gd name="connsiteX9" fmla="*/ 199155 w 208429"/>
              <a:gd name="connsiteY9" fmla="*/ 80290 h 208161"/>
              <a:gd name="connsiteX10" fmla="*/ 208429 w 208429"/>
              <a:gd name="connsiteY10" fmla="*/ 91305 h 208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8429" h="208161">
                <a:moveTo>
                  <a:pt x="208139" y="91015"/>
                </a:moveTo>
                <a:lnTo>
                  <a:pt x="208139" y="197102"/>
                </a:lnTo>
                <a:cubicBezTo>
                  <a:pt x="208139" y="203479"/>
                  <a:pt x="202632" y="208697"/>
                  <a:pt x="196256" y="208117"/>
                </a:cubicBezTo>
                <a:cubicBezTo>
                  <a:pt x="145537" y="204349"/>
                  <a:pt x="98005" y="182899"/>
                  <a:pt x="61777" y="146377"/>
                </a:cubicBezTo>
                <a:cubicBezTo>
                  <a:pt x="25549" y="109856"/>
                  <a:pt x="3812" y="62609"/>
                  <a:pt x="44" y="11884"/>
                </a:cubicBezTo>
                <a:cubicBezTo>
                  <a:pt x="-535" y="5507"/>
                  <a:pt x="4682" y="0"/>
                  <a:pt x="11058" y="0"/>
                </a:cubicBezTo>
                <a:lnTo>
                  <a:pt x="117134" y="0"/>
                </a:lnTo>
                <a:cubicBezTo>
                  <a:pt x="122641" y="0"/>
                  <a:pt x="127278" y="4058"/>
                  <a:pt x="128147" y="9276"/>
                </a:cubicBezTo>
                <a:cubicBezTo>
                  <a:pt x="130756" y="26377"/>
                  <a:pt x="138871" y="42899"/>
                  <a:pt x="152203" y="56232"/>
                </a:cubicBezTo>
                <a:cubicBezTo>
                  <a:pt x="165535" y="69566"/>
                  <a:pt x="181765" y="77392"/>
                  <a:pt x="199155" y="80290"/>
                </a:cubicBezTo>
                <a:cubicBezTo>
                  <a:pt x="204371" y="81160"/>
                  <a:pt x="208429" y="85797"/>
                  <a:pt x="208429" y="91305"/>
                </a:cubicBezTo>
                <a:close/>
              </a:path>
            </a:pathLst>
          </a:custGeom>
          <a:solidFill>
            <a:schemeClr val="accent4"/>
          </a:solidFill>
          <a:ln w="0" cap="flat">
            <a:noFill/>
            <a:prstDash val="solid"/>
            <a:miter/>
          </a:ln>
        </p:spPr>
        <p:txBody>
          <a:bodyPr rtlCol="0" anchor="ctr"/>
          <a:lstStyle/>
          <a:p>
            <a:endParaRPr lang="en-US"/>
          </a:p>
        </p:txBody>
      </p:sp>
      <p:sp>
        <p:nvSpPr>
          <p:cNvPr id="80" name="Freeform: Shape 13">
            <a:extLst>
              <a:ext uri="{FF2B5EF4-FFF2-40B4-BE49-F238E27FC236}">
                <a16:creationId xmlns:a16="http://schemas.microsoft.com/office/drawing/2014/main" id="{6706110A-2E1B-EE47-54C9-9B95E5E08BC5}"/>
              </a:ext>
            </a:extLst>
          </p:cNvPr>
          <p:cNvSpPr/>
          <p:nvPr/>
        </p:nvSpPr>
        <p:spPr>
          <a:xfrm>
            <a:off x="6782391" y="2964691"/>
            <a:ext cx="1299725" cy="2183267"/>
          </a:xfrm>
          <a:custGeom>
            <a:avLst/>
            <a:gdLst>
              <a:gd name="connsiteX0" fmla="*/ 226823 w 1299725"/>
              <a:gd name="connsiteY0" fmla="*/ 1129694 h 2183267"/>
              <a:gd name="connsiteX1" fmla="*/ 1198447 w 1299725"/>
              <a:gd name="connsiteY1" fmla="*/ 1129694 h 2183267"/>
              <a:gd name="connsiteX2" fmla="*/ 1299321 w 1299725"/>
              <a:gd name="connsiteY2" fmla="*/ 1238547 h 2183267"/>
              <a:gd name="connsiteX3" fmla="*/ 1296665 w 1299725"/>
              <a:gd name="connsiteY3" fmla="*/ 1241203 h 2183267"/>
              <a:gd name="connsiteX4" fmla="*/ 1048019 w 1299725"/>
              <a:gd name="connsiteY4" fmla="*/ 2059991 h 2183267"/>
              <a:gd name="connsiteX5" fmla="*/ 970154 w 1299725"/>
              <a:gd name="connsiteY5" fmla="*/ 2183267 h 2183267"/>
              <a:gd name="connsiteX6" fmla="*/ 859839 w 1299725"/>
              <a:gd name="connsiteY6" fmla="*/ 2149390 h 2183267"/>
              <a:gd name="connsiteX7" fmla="*/ 20232 w 1299725"/>
              <a:gd name="connsiteY7" fmla="*/ 1559633 h 2183267"/>
              <a:gd name="connsiteX8" fmla="*/ 1190 w 1299725"/>
              <a:gd name="connsiteY8" fmla="*/ 1526466 h 2183267"/>
              <a:gd name="connsiteX9" fmla="*/ 51612 w 1299725"/>
              <a:gd name="connsiteY9" fmla="*/ 1443645 h 2183267"/>
              <a:gd name="connsiteX10" fmla="*/ 125948 w 1299725"/>
              <a:gd name="connsiteY10" fmla="*/ 1214650 h 2183267"/>
              <a:gd name="connsiteX11" fmla="*/ 226823 w 1299725"/>
              <a:gd name="connsiteY11" fmla="*/ 1129694 h 2183267"/>
              <a:gd name="connsiteX12" fmla="*/ 967337 w 1299725"/>
              <a:gd name="connsiteY12" fmla="*/ 0 h 2183267"/>
              <a:gd name="connsiteX13" fmla="*/ 1045363 w 1299725"/>
              <a:gd name="connsiteY13" fmla="*/ 123573 h 2183267"/>
              <a:gd name="connsiteX14" fmla="*/ 1294009 w 1299725"/>
              <a:gd name="connsiteY14" fmla="*/ 941199 h 2183267"/>
              <a:gd name="connsiteX15" fmla="*/ 1296665 w 1299725"/>
              <a:gd name="connsiteY15" fmla="*/ 943856 h 2183267"/>
              <a:gd name="connsiteX16" fmla="*/ 1195781 w 1299725"/>
              <a:gd name="connsiteY16" fmla="*/ 1052708 h 2183267"/>
              <a:gd name="connsiteX17" fmla="*/ 224167 w 1299725"/>
              <a:gd name="connsiteY17" fmla="*/ 1052708 h 2183267"/>
              <a:gd name="connsiteX18" fmla="*/ 123292 w 1299725"/>
              <a:gd name="connsiteY18" fmla="*/ 967744 h 2183267"/>
              <a:gd name="connsiteX19" fmla="*/ 49952 w 1299725"/>
              <a:gd name="connsiteY19" fmla="*/ 739751 h 2183267"/>
              <a:gd name="connsiteX20" fmla="*/ 0 w 1299725"/>
              <a:gd name="connsiteY20" fmla="*/ 658009 h 2183267"/>
              <a:gd name="connsiteX21" fmla="*/ 20232 w 1299725"/>
              <a:gd name="connsiteY21" fmla="*/ 622769 h 2183267"/>
              <a:gd name="connsiteX22" fmla="*/ 859839 w 1299725"/>
              <a:gd name="connsiteY22" fmla="*/ 33012 h 218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99725" h="2183267">
                <a:moveTo>
                  <a:pt x="226823" y="1129694"/>
                </a:moveTo>
                <a:lnTo>
                  <a:pt x="1198447" y="1129694"/>
                </a:lnTo>
                <a:cubicBezTo>
                  <a:pt x="1256848" y="1129694"/>
                  <a:pt x="1304634" y="1180136"/>
                  <a:pt x="1299321" y="1238547"/>
                </a:cubicBezTo>
                <a:lnTo>
                  <a:pt x="1296665" y="1241203"/>
                </a:lnTo>
                <a:cubicBezTo>
                  <a:pt x="1275095" y="1531592"/>
                  <a:pt x="1190269" y="1810570"/>
                  <a:pt x="1048019" y="2059991"/>
                </a:cubicBezTo>
                <a:lnTo>
                  <a:pt x="970154" y="2183267"/>
                </a:lnTo>
                <a:lnTo>
                  <a:pt x="859839" y="2149390"/>
                </a:lnTo>
                <a:cubicBezTo>
                  <a:pt x="485357" y="2019706"/>
                  <a:pt x="187406" y="1811594"/>
                  <a:pt x="20232" y="1559633"/>
                </a:cubicBezTo>
                <a:lnTo>
                  <a:pt x="1190" y="1526466"/>
                </a:lnTo>
                <a:lnTo>
                  <a:pt x="51612" y="1443645"/>
                </a:lnTo>
                <a:cubicBezTo>
                  <a:pt x="88114" y="1371297"/>
                  <a:pt x="112671" y="1294302"/>
                  <a:pt x="125948" y="1214650"/>
                </a:cubicBezTo>
                <a:cubicBezTo>
                  <a:pt x="133908" y="1166864"/>
                  <a:pt x="176381" y="1129694"/>
                  <a:pt x="226823" y="1129694"/>
                </a:cubicBezTo>
                <a:close/>
                <a:moveTo>
                  <a:pt x="967337" y="0"/>
                </a:moveTo>
                <a:lnTo>
                  <a:pt x="1045363" y="123573"/>
                </a:lnTo>
                <a:cubicBezTo>
                  <a:pt x="1187612" y="372867"/>
                  <a:pt x="1272438" y="650811"/>
                  <a:pt x="1294009" y="941199"/>
                </a:cubicBezTo>
                <a:lnTo>
                  <a:pt x="1296665" y="943856"/>
                </a:lnTo>
                <a:cubicBezTo>
                  <a:pt x="1301969" y="1002257"/>
                  <a:pt x="1254183" y="1052708"/>
                  <a:pt x="1195781" y="1052708"/>
                </a:cubicBezTo>
                <a:lnTo>
                  <a:pt x="224167" y="1052708"/>
                </a:lnTo>
                <a:cubicBezTo>
                  <a:pt x="173725" y="1052708"/>
                  <a:pt x="131252" y="1015539"/>
                  <a:pt x="123292" y="967744"/>
                </a:cubicBezTo>
                <a:cubicBezTo>
                  <a:pt x="111343" y="889425"/>
                  <a:pt x="86786" y="812431"/>
                  <a:pt x="49952" y="739751"/>
                </a:cubicBezTo>
                <a:lnTo>
                  <a:pt x="0" y="658009"/>
                </a:lnTo>
                <a:lnTo>
                  <a:pt x="20232" y="622769"/>
                </a:lnTo>
                <a:cubicBezTo>
                  <a:pt x="187406" y="370809"/>
                  <a:pt x="485357" y="162696"/>
                  <a:pt x="859839" y="33012"/>
                </a:cubicBezTo>
                <a:close/>
              </a:path>
            </a:pathLst>
          </a:custGeom>
          <a:solidFill>
            <a:schemeClr val="tx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1" name="Freeform: Shape 14">
            <a:extLst>
              <a:ext uri="{FF2B5EF4-FFF2-40B4-BE49-F238E27FC236}">
                <a16:creationId xmlns:a16="http://schemas.microsoft.com/office/drawing/2014/main" id="{EB9D8BBA-2760-CB69-A1A4-D0B8EA1E3DE4}"/>
              </a:ext>
            </a:extLst>
          </p:cNvPr>
          <p:cNvSpPr/>
          <p:nvPr/>
        </p:nvSpPr>
        <p:spPr>
          <a:xfrm>
            <a:off x="4184216" y="2964005"/>
            <a:ext cx="1299313" cy="2183479"/>
          </a:xfrm>
          <a:custGeom>
            <a:avLst/>
            <a:gdLst>
              <a:gd name="connsiteX0" fmla="*/ 103943 w 1299313"/>
              <a:gd name="connsiteY0" fmla="*/ 1133037 h 2183479"/>
              <a:gd name="connsiteX1" fmla="*/ 1075558 w 1299313"/>
              <a:gd name="connsiteY1" fmla="*/ 1133037 h 2183479"/>
              <a:gd name="connsiteX2" fmla="*/ 1176433 w 1299313"/>
              <a:gd name="connsiteY2" fmla="*/ 1218002 h 2183479"/>
              <a:gd name="connsiteX3" fmla="*/ 1249772 w 1299313"/>
              <a:gd name="connsiteY3" fmla="*/ 1445993 h 2183479"/>
              <a:gd name="connsiteX4" fmla="*/ 1298936 w 1299313"/>
              <a:gd name="connsiteY4" fmla="*/ 1526442 h 2183479"/>
              <a:gd name="connsiteX5" fmla="*/ 1279485 w 1299313"/>
              <a:gd name="connsiteY5" fmla="*/ 1560319 h 2183479"/>
              <a:gd name="connsiteX6" fmla="*/ 439878 w 1299313"/>
              <a:gd name="connsiteY6" fmla="*/ 2150076 h 2183479"/>
              <a:gd name="connsiteX7" fmla="*/ 331108 w 1299313"/>
              <a:gd name="connsiteY7" fmla="*/ 2183479 h 2183479"/>
              <a:gd name="connsiteX8" fmla="*/ 252872 w 1299313"/>
              <a:gd name="connsiteY8" fmla="*/ 2059514 h 2183479"/>
              <a:gd name="connsiteX9" fmla="*/ 3059 w 1299313"/>
              <a:gd name="connsiteY9" fmla="*/ 1241890 h 2183479"/>
              <a:gd name="connsiteX10" fmla="*/ 103943 w 1299313"/>
              <a:gd name="connsiteY10" fmla="*/ 1133037 h 2183479"/>
              <a:gd name="connsiteX11" fmla="*/ 330146 w 1299313"/>
              <a:gd name="connsiteY11" fmla="*/ 0 h 2183479"/>
              <a:gd name="connsiteX12" fmla="*/ 439878 w 1299313"/>
              <a:gd name="connsiteY12" fmla="*/ 33698 h 2183479"/>
              <a:gd name="connsiteX13" fmla="*/ 1279485 w 1299313"/>
              <a:gd name="connsiteY13" fmla="*/ 623455 h 2183479"/>
              <a:gd name="connsiteX14" fmla="*/ 1299313 w 1299313"/>
              <a:gd name="connsiteY14" fmla="*/ 657990 h 2183479"/>
              <a:gd name="connsiteX15" fmla="*/ 1248112 w 1299313"/>
              <a:gd name="connsiteY15" fmla="*/ 742088 h 2183479"/>
              <a:gd name="connsiteX16" fmla="*/ 1173777 w 1299313"/>
              <a:gd name="connsiteY16" fmla="*/ 971076 h 2183479"/>
              <a:gd name="connsiteX17" fmla="*/ 1072902 w 1299313"/>
              <a:gd name="connsiteY17" fmla="*/ 1056040 h 2183479"/>
              <a:gd name="connsiteX18" fmla="*/ 101287 w 1299313"/>
              <a:gd name="connsiteY18" fmla="*/ 1056040 h 2183479"/>
              <a:gd name="connsiteX19" fmla="*/ 403 w 1299313"/>
              <a:gd name="connsiteY19" fmla="*/ 947188 h 2183479"/>
              <a:gd name="connsiteX20" fmla="*/ 249049 w 1299313"/>
              <a:gd name="connsiteY20" fmla="*/ 128394 h 2183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99313" h="2183479">
                <a:moveTo>
                  <a:pt x="103943" y="1133037"/>
                </a:moveTo>
                <a:lnTo>
                  <a:pt x="1075558" y="1133037"/>
                </a:lnTo>
                <a:cubicBezTo>
                  <a:pt x="1126000" y="1133037"/>
                  <a:pt x="1168473" y="1170207"/>
                  <a:pt x="1176433" y="1218002"/>
                </a:cubicBezTo>
                <a:cubicBezTo>
                  <a:pt x="1188382" y="1296321"/>
                  <a:pt x="1212938" y="1373314"/>
                  <a:pt x="1249772" y="1445993"/>
                </a:cubicBezTo>
                <a:lnTo>
                  <a:pt x="1298936" y="1526442"/>
                </a:lnTo>
                <a:lnTo>
                  <a:pt x="1279485" y="1560319"/>
                </a:lnTo>
                <a:cubicBezTo>
                  <a:pt x="1112312" y="1812280"/>
                  <a:pt x="814361" y="2020392"/>
                  <a:pt x="439878" y="2150076"/>
                </a:cubicBezTo>
                <a:lnTo>
                  <a:pt x="331108" y="2183479"/>
                </a:lnTo>
                <a:lnTo>
                  <a:pt x="252872" y="2059514"/>
                </a:lnTo>
                <a:cubicBezTo>
                  <a:pt x="110494" y="1810222"/>
                  <a:pt x="24630" y="1532278"/>
                  <a:pt x="3059" y="1241890"/>
                </a:cubicBezTo>
                <a:cubicBezTo>
                  <a:pt x="-2244" y="1183479"/>
                  <a:pt x="45541" y="1133037"/>
                  <a:pt x="103943" y="1133037"/>
                </a:cubicBezTo>
                <a:close/>
                <a:moveTo>
                  <a:pt x="330146" y="0"/>
                </a:moveTo>
                <a:lnTo>
                  <a:pt x="439878" y="33698"/>
                </a:lnTo>
                <a:cubicBezTo>
                  <a:pt x="814361" y="163382"/>
                  <a:pt x="1112312" y="371495"/>
                  <a:pt x="1279485" y="623455"/>
                </a:cubicBezTo>
                <a:lnTo>
                  <a:pt x="1299313" y="657990"/>
                </a:lnTo>
                <a:lnTo>
                  <a:pt x="1248112" y="742088"/>
                </a:lnTo>
                <a:cubicBezTo>
                  <a:pt x="1211610" y="814435"/>
                  <a:pt x="1187054" y="891429"/>
                  <a:pt x="1173777" y="971076"/>
                </a:cubicBezTo>
                <a:cubicBezTo>
                  <a:pt x="1165817" y="1018871"/>
                  <a:pt x="1123344" y="1056040"/>
                  <a:pt x="1072902" y="1056040"/>
                </a:cubicBezTo>
                <a:lnTo>
                  <a:pt x="101287" y="1056040"/>
                </a:lnTo>
                <a:cubicBezTo>
                  <a:pt x="42876" y="1056040"/>
                  <a:pt x="-4900" y="1005598"/>
                  <a:pt x="403" y="947188"/>
                </a:cubicBezTo>
                <a:cubicBezTo>
                  <a:pt x="21974" y="656799"/>
                  <a:pt x="106800" y="377818"/>
                  <a:pt x="249049" y="128394"/>
                </a:cubicBezTo>
                <a:close/>
              </a:path>
            </a:pathLst>
          </a:custGeom>
          <a:solidFill>
            <a:schemeClr val="tx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82" name="Group 16">
            <a:extLst>
              <a:ext uri="{FF2B5EF4-FFF2-40B4-BE49-F238E27FC236}">
                <a16:creationId xmlns:a16="http://schemas.microsoft.com/office/drawing/2014/main" id="{4C502573-8599-A942-368F-13757D9D199D}"/>
              </a:ext>
            </a:extLst>
          </p:cNvPr>
          <p:cNvGrpSpPr/>
          <p:nvPr/>
        </p:nvGrpSpPr>
        <p:grpSpPr>
          <a:xfrm>
            <a:off x="8694577" y="4263363"/>
            <a:ext cx="2926080" cy="1474819"/>
            <a:chOff x="8921977" y="2947244"/>
            <a:chExt cx="2926080" cy="1474819"/>
          </a:xfrm>
        </p:grpSpPr>
        <p:sp>
          <p:nvSpPr>
            <p:cNvPr id="83" name="TextBox 26">
              <a:extLst>
                <a:ext uri="{FF2B5EF4-FFF2-40B4-BE49-F238E27FC236}">
                  <a16:creationId xmlns:a16="http://schemas.microsoft.com/office/drawing/2014/main" id="{111AE10B-C910-5C40-671A-8DDFBE8B0D27}"/>
                </a:ext>
              </a:extLst>
            </p:cNvPr>
            <p:cNvSpPr txBox="1"/>
            <p:nvPr/>
          </p:nvSpPr>
          <p:spPr>
            <a:xfrm>
              <a:off x="8921977" y="2947244"/>
              <a:ext cx="2926080" cy="461665"/>
            </a:xfrm>
            <a:prstGeom prst="rect">
              <a:avLst/>
            </a:prstGeom>
            <a:noFill/>
          </p:spPr>
          <p:txBody>
            <a:bodyPr wrap="square" lIns="0" rIns="0" rtlCol="0" anchor="b">
              <a:spAutoFit/>
            </a:bodyPr>
            <a:lstStyle/>
            <a:p>
              <a:r>
                <a:rPr lang="en-US" sz="2400" b="1" cap="all" noProof="1">
                  <a:solidFill>
                    <a:schemeClr val="accent2">
                      <a:lumMod val="75000"/>
                    </a:schemeClr>
                  </a:solidFill>
                </a:rPr>
                <a:t>MENACE</a:t>
              </a:r>
            </a:p>
          </p:txBody>
        </p:sp>
        <p:sp>
          <p:nvSpPr>
            <p:cNvPr id="84" name="TextBox 27">
              <a:extLst>
                <a:ext uri="{FF2B5EF4-FFF2-40B4-BE49-F238E27FC236}">
                  <a16:creationId xmlns:a16="http://schemas.microsoft.com/office/drawing/2014/main" id="{D4B6C0DB-5C3B-5A81-A924-36A3A5246F98}"/>
                </a:ext>
              </a:extLst>
            </p:cNvPr>
            <p:cNvSpPr txBox="1"/>
            <p:nvPr/>
          </p:nvSpPr>
          <p:spPr>
            <a:xfrm>
              <a:off x="8921977" y="3406400"/>
              <a:ext cx="2926080" cy="1015663"/>
            </a:xfrm>
            <a:prstGeom prst="rect">
              <a:avLst/>
            </a:prstGeom>
            <a:noFill/>
          </p:spPr>
          <p:txBody>
            <a:bodyPr wrap="square" lIns="0" rIns="0" rtlCol="0" anchor="t">
              <a:spAutoFit/>
            </a:bodyPr>
            <a:lstStyle/>
            <a:p>
              <a:pPr lvl="0"/>
              <a:r>
                <a:rPr lang="fr-FR" sz="1200" dirty="0">
                  <a:solidFill>
                    <a:schemeClr val="bg1"/>
                  </a:solidFill>
                </a:rPr>
                <a:t>Concurrence possible d'autres plateformes connues. </a:t>
              </a:r>
            </a:p>
            <a:p>
              <a:pPr lvl="0"/>
              <a:r>
                <a:rPr lang="fr-FR" sz="1200" dirty="0">
                  <a:solidFill>
                    <a:schemeClr val="bg1"/>
                  </a:solidFill>
                </a:rPr>
                <a:t>Certains prestataires refusent de changer leurs habitudes.</a:t>
              </a:r>
            </a:p>
            <a:p>
              <a:pPr lvl="0"/>
              <a:r>
                <a:rPr lang="fr-FR" sz="1200" dirty="0">
                  <a:solidFill>
                    <a:schemeClr val="bg1"/>
                  </a:solidFill>
                </a:rPr>
                <a:t> Météo ou lois peuvent freiner l'activité.</a:t>
              </a:r>
              <a:endParaRPr lang="fr-FR" sz="1100" dirty="0">
                <a:solidFill>
                  <a:schemeClr val="bg1"/>
                </a:solidFill>
                <a:latin typeface="Roboto"/>
                <a:ea typeface="Roboto"/>
                <a:cs typeface="Roboto"/>
                <a:sym typeface="Roboto"/>
              </a:endParaRPr>
            </a:p>
          </p:txBody>
        </p:sp>
      </p:grpSp>
      <p:grpSp>
        <p:nvGrpSpPr>
          <p:cNvPr id="85" name="Group 17">
            <a:extLst>
              <a:ext uri="{FF2B5EF4-FFF2-40B4-BE49-F238E27FC236}">
                <a16:creationId xmlns:a16="http://schemas.microsoft.com/office/drawing/2014/main" id="{AFA1B108-B517-D812-D96C-9C873E061A07}"/>
              </a:ext>
            </a:extLst>
          </p:cNvPr>
          <p:cNvGrpSpPr/>
          <p:nvPr/>
        </p:nvGrpSpPr>
        <p:grpSpPr>
          <a:xfrm>
            <a:off x="645665" y="4263363"/>
            <a:ext cx="2926080" cy="1290153"/>
            <a:chOff x="332936" y="2947244"/>
            <a:chExt cx="2926080" cy="1290153"/>
          </a:xfrm>
        </p:grpSpPr>
        <p:sp>
          <p:nvSpPr>
            <p:cNvPr id="86" name="TextBox 24">
              <a:extLst>
                <a:ext uri="{FF2B5EF4-FFF2-40B4-BE49-F238E27FC236}">
                  <a16:creationId xmlns:a16="http://schemas.microsoft.com/office/drawing/2014/main" id="{42D91284-67AE-6BD8-7A8A-3BE79570CB3F}"/>
                </a:ext>
              </a:extLst>
            </p:cNvPr>
            <p:cNvSpPr txBox="1"/>
            <p:nvPr/>
          </p:nvSpPr>
          <p:spPr>
            <a:xfrm>
              <a:off x="332936" y="2947244"/>
              <a:ext cx="2926080" cy="461665"/>
            </a:xfrm>
            <a:prstGeom prst="rect">
              <a:avLst/>
            </a:prstGeom>
            <a:noFill/>
          </p:spPr>
          <p:txBody>
            <a:bodyPr wrap="square" lIns="0" rIns="0" rtlCol="0" anchor="b">
              <a:spAutoFit/>
            </a:bodyPr>
            <a:lstStyle/>
            <a:p>
              <a:pPr algn="r"/>
              <a:r>
                <a:rPr lang="fr-FR" sz="2400" b="1" cap="all" dirty="0">
                  <a:solidFill>
                    <a:schemeClr val="accent4">
                      <a:lumMod val="75000"/>
                    </a:schemeClr>
                  </a:solidFill>
                  <a:sym typeface="Fira Sans Extra Condensed Medium"/>
                </a:rPr>
                <a:t>Opportunités</a:t>
              </a:r>
            </a:p>
          </p:txBody>
        </p:sp>
        <p:sp>
          <p:nvSpPr>
            <p:cNvPr id="87" name="TextBox 25">
              <a:extLst>
                <a:ext uri="{FF2B5EF4-FFF2-40B4-BE49-F238E27FC236}">
                  <a16:creationId xmlns:a16="http://schemas.microsoft.com/office/drawing/2014/main" id="{CF687012-FE8D-B9AE-B46E-958135F50CC0}"/>
                </a:ext>
              </a:extLst>
            </p:cNvPr>
            <p:cNvSpPr txBox="1"/>
            <p:nvPr/>
          </p:nvSpPr>
          <p:spPr>
            <a:xfrm>
              <a:off x="332936" y="3406400"/>
              <a:ext cx="2926080" cy="830997"/>
            </a:xfrm>
            <a:prstGeom prst="rect">
              <a:avLst/>
            </a:prstGeom>
            <a:noFill/>
          </p:spPr>
          <p:txBody>
            <a:bodyPr wrap="square" lIns="0" rIns="0" rtlCol="0" anchor="t">
              <a:spAutoFit/>
            </a:bodyPr>
            <a:lstStyle/>
            <a:p>
              <a:pPr lvl="0" algn="r"/>
              <a:r>
                <a:rPr lang="fr-FR" sz="1200" dirty="0">
                  <a:solidFill>
                    <a:schemeClr val="bg1"/>
                  </a:solidFill>
                </a:rPr>
                <a:t>Le tourisme local est en forte hausse.</a:t>
              </a:r>
            </a:p>
            <a:p>
              <a:pPr lvl="0" algn="r"/>
              <a:r>
                <a:rPr lang="fr-FR" sz="1200" dirty="0">
                  <a:solidFill>
                    <a:schemeClr val="bg1"/>
                  </a:solidFill>
                </a:rPr>
                <a:t> Les services touristiques se digitalisent vite. </a:t>
              </a:r>
            </a:p>
            <a:p>
              <a:pPr lvl="0" algn="r"/>
              <a:r>
                <a:rPr lang="fr-FR" sz="1200" dirty="0">
                  <a:solidFill>
                    <a:schemeClr val="bg1"/>
                  </a:solidFill>
                </a:rPr>
                <a:t>     Possibilité de s'étendre à d'autres plages et services. </a:t>
              </a:r>
              <a:endParaRPr lang="fr-FR" sz="1100" dirty="0">
                <a:solidFill>
                  <a:schemeClr val="bg1"/>
                </a:solidFill>
                <a:latin typeface="Roboto"/>
                <a:ea typeface="Roboto"/>
                <a:cs typeface="Roboto"/>
                <a:sym typeface="Roboto"/>
              </a:endParaRPr>
            </a:p>
          </p:txBody>
        </p:sp>
      </p:grpSp>
      <p:grpSp>
        <p:nvGrpSpPr>
          <p:cNvPr id="88" name="Group 18">
            <a:extLst>
              <a:ext uri="{FF2B5EF4-FFF2-40B4-BE49-F238E27FC236}">
                <a16:creationId xmlns:a16="http://schemas.microsoft.com/office/drawing/2014/main" id="{209CF79A-4D91-D40C-87B2-308E62BB7E34}"/>
              </a:ext>
            </a:extLst>
          </p:cNvPr>
          <p:cNvGrpSpPr/>
          <p:nvPr/>
        </p:nvGrpSpPr>
        <p:grpSpPr>
          <a:xfrm>
            <a:off x="8694577" y="2558269"/>
            <a:ext cx="2926080" cy="1290153"/>
            <a:chOff x="8921977" y="1242150"/>
            <a:chExt cx="2926080" cy="1290153"/>
          </a:xfrm>
        </p:grpSpPr>
        <p:sp>
          <p:nvSpPr>
            <p:cNvPr id="89" name="TextBox 22">
              <a:extLst>
                <a:ext uri="{FF2B5EF4-FFF2-40B4-BE49-F238E27FC236}">
                  <a16:creationId xmlns:a16="http://schemas.microsoft.com/office/drawing/2014/main" id="{D7345343-25E1-11FF-3980-6D965CCFC312}"/>
                </a:ext>
              </a:extLst>
            </p:cNvPr>
            <p:cNvSpPr txBox="1"/>
            <p:nvPr/>
          </p:nvSpPr>
          <p:spPr>
            <a:xfrm>
              <a:off x="8921977" y="1242150"/>
              <a:ext cx="2926080" cy="461665"/>
            </a:xfrm>
            <a:prstGeom prst="rect">
              <a:avLst/>
            </a:prstGeom>
            <a:noFill/>
          </p:spPr>
          <p:txBody>
            <a:bodyPr wrap="square" lIns="0" rIns="0" rtlCol="0" anchor="b">
              <a:spAutoFit/>
            </a:bodyPr>
            <a:lstStyle/>
            <a:p>
              <a:r>
                <a:rPr lang="en-US" sz="2400" b="1" cap="all" noProof="1">
                  <a:solidFill>
                    <a:schemeClr val="accent5">
                      <a:lumMod val="75000"/>
                    </a:schemeClr>
                  </a:solidFill>
                </a:rPr>
                <a:t>FaibleSSE</a:t>
              </a:r>
            </a:p>
          </p:txBody>
        </p:sp>
        <p:sp>
          <p:nvSpPr>
            <p:cNvPr id="90" name="TextBox 23">
              <a:extLst>
                <a:ext uri="{FF2B5EF4-FFF2-40B4-BE49-F238E27FC236}">
                  <a16:creationId xmlns:a16="http://schemas.microsoft.com/office/drawing/2014/main" id="{A15F7623-46EE-2F1E-8949-770E4AB24A02}"/>
                </a:ext>
              </a:extLst>
            </p:cNvPr>
            <p:cNvSpPr txBox="1"/>
            <p:nvPr/>
          </p:nvSpPr>
          <p:spPr>
            <a:xfrm>
              <a:off x="8921977" y="1701306"/>
              <a:ext cx="2926080" cy="830997"/>
            </a:xfrm>
            <a:prstGeom prst="rect">
              <a:avLst/>
            </a:prstGeom>
            <a:noFill/>
          </p:spPr>
          <p:txBody>
            <a:bodyPr wrap="square" lIns="0" rIns="0" rtlCol="0" anchor="t">
              <a:spAutoFit/>
            </a:bodyPr>
            <a:lstStyle/>
            <a:p>
              <a:pPr lvl="0"/>
              <a:r>
                <a:rPr lang="fr-FR" sz="1200" dirty="0">
                  <a:solidFill>
                    <a:schemeClr val="bg1"/>
                  </a:solidFill>
                </a:rPr>
                <a:t>Activité concentrée sur l'été. </a:t>
              </a:r>
            </a:p>
            <a:p>
              <a:pPr lvl="0"/>
              <a:r>
                <a:rPr lang="fr-FR" sz="1200" dirty="0">
                  <a:solidFill>
                    <a:schemeClr val="bg1"/>
                  </a:solidFill>
                </a:rPr>
                <a:t>Certains prestataires sont peu à l'aise avec le numérique.</a:t>
              </a:r>
            </a:p>
            <a:p>
              <a:pPr lvl="0"/>
              <a:r>
                <a:rPr lang="fr-FR" sz="1200" dirty="0">
                  <a:solidFill>
                    <a:schemeClr val="bg1"/>
                  </a:solidFill>
                </a:rPr>
                <a:t> Cabinoo manque encore de notoriété</a:t>
              </a:r>
              <a:endParaRPr lang="fr-FR" sz="1100" dirty="0">
                <a:solidFill>
                  <a:schemeClr val="bg1"/>
                </a:solidFill>
                <a:latin typeface="Roboto"/>
                <a:ea typeface="Roboto"/>
                <a:cs typeface="Roboto"/>
                <a:sym typeface="Roboto"/>
              </a:endParaRPr>
            </a:p>
          </p:txBody>
        </p:sp>
      </p:grpSp>
      <p:grpSp>
        <p:nvGrpSpPr>
          <p:cNvPr id="91" name="Group 19">
            <a:extLst>
              <a:ext uri="{FF2B5EF4-FFF2-40B4-BE49-F238E27FC236}">
                <a16:creationId xmlns:a16="http://schemas.microsoft.com/office/drawing/2014/main" id="{6C79FBE1-A90E-643F-846D-EC707CE2445F}"/>
              </a:ext>
            </a:extLst>
          </p:cNvPr>
          <p:cNvGrpSpPr/>
          <p:nvPr/>
        </p:nvGrpSpPr>
        <p:grpSpPr>
          <a:xfrm>
            <a:off x="645665" y="2558269"/>
            <a:ext cx="2926080" cy="1474819"/>
            <a:chOff x="332936" y="2627766"/>
            <a:chExt cx="2926080" cy="1474819"/>
          </a:xfrm>
        </p:grpSpPr>
        <p:sp>
          <p:nvSpPr>
            <p:cNvPr id="92" name="TextBox 20">
              <a:extLst>
                <a:ext uri="{FF2B5EF4-FFF2-40B4-BE49-F238E27FC236}">
                  <a16:creationId xmlns:a16="http://schemas.microsoft.com/office/drawing/2014/main" id="{43ABF452-F640-E75E-6395-B6743AC4A10C}"/>
                </a:ext>
              </a:extLst>
            </p:cNvPr>
            <p:cNvSpPr txBox="1"/>
            <p:nvPr/>
          </p:nvSpPr>
          <p:spPr>
            <a:xfrm>
              <a:off x="332936" y="2627766"/>
              <a:ext cx="2926080" cy="461665"/>
            </a:xfrm>
            <a:prstGeom prst="rect">
              <a:avLst/>
            </a:prstGeom>
            <a:noFill/>
          </p:spPr>
          <p:txBody>
            <a:bodyPr wrap="square" lIns="0" rIns="0" rtlCol="0" anchor="b">
              <a:spAutoFit/>
            </a:bodyPr>
            <a:lstStyle/>
            <a:p>
              <a:pPr algn="r"/>
              <a:r>
                <a:rPr lang="en-US" sz="2400" b="1" cap="all" noProof="1">
                  <a:solidFill>
                    <a:schemeClr val="accent1"/>
                  </a:solidFill>
                </a:rPr>
                <a:t>Forces</a:t>
              </a:r>
            </a:p>
          </p:txBody>
        </p:sp>
        <p:sp>
          <p:nvSpPr>
            <p:cNvPr id="93" name="TextBox 21">
              <a:extLst>
                <a:ext uri="{FF2B5EF4-FFF2-40B4-BE49-F238E27FC236}">
                  <a16:creationId xmlns:a16="http://schemas.microsoft.com/office/drawing/2014/main" id="{51A06C55-F89E-F94C-E031-FB8DAC11227A}"/>
                </a:ext>
              </a:extLst>
            </p:cNvPr>
            <p:cNvSpPr txBox="1"/>
            <p:nvPr/>
          </p:nvSpPr>
          <p:spPr>
            <a:xfrm>
              <a:off x="332936" y="3086922"/>
              <a:ext cx="2926080" cy="1015663"/>
            </a:xfrm>
            <a:prstGeom prst="rect">
              <a:avLst/>
            </a:prstGeom>
            <a:noFill/>
          </p:spPr>
          <p:txBody>
            <a:bodyPr wrap="square" lIns="0" rIns="0" rtlCol="0" anchor="t">
              <a:spAutoFit/>
            </a:bodyPr>
            <a:lstStyle/>
            <a:p>
              <a:pPr lvl="0" algn="r"/>
              <a:r>
                <a:rPr lang="fr-FR" sz="1200" dirty="0">
                  <a:solidFill>
                    <a:schemeClr val="bg1"/>
                  </a:solidFill>
                </a:rPr>
                <a:t>Plateforme simple, rapide et moderne avec IA et carte.</a:t>
              </a:r>
            </a:p>
            <a:p>
              <a:pPr lvl="0" algn="r"/>
              <a:r>
                <a:rPr lang="fr-FR" sz="1200" dirty="0">
                  <a:solidFill>
                    <a:schemeClr val="bg1"/>
                  </a:solidFill>
                </a:rPr>
                <a:t> Digitalise un secteur encore peu structuré.</a:t>
              </a:r>
            </a:p>
            <a:p>
              <a:pPr lvl="0" algn="r"/>
              <a:r>
                <a:rPr lang="fr-FR" sz="1200" dirty="0">
                  <a:solidFill>
                    <a:schemeClr val="bg1"/>
                  </a:solidFill>
                </a:rPr>
                <a:t> Aide les prestataires à mieux gérer et se faire connaître</a:t>
              </a:r>
              <a:endParaRPr lang="fr-FR" sz="1100" dirty="0">
                <a:solidFill>
                  <a:schemeClr val="bg1"/>
                </a:solidFill>
                <a:latin typeface="Roboto"/>
                <a:ea typeface="Roboto"/>
                <a:cs typeface="Roboto"/>
                <a:sym typeface="Roboto"/>
              </a:endParaRPr>
            </a:p>
          </p:txBody>
        </p:sp>
      </p:grpSp>
      <p:sp>
        <p:nvSpPr>
          <p:cNvPr id="94" name="TextBox 28">
            <a:extLst>
              <a:ext uri="{FF2B5EF4-FFF2-40B4-BE49-F238E27FC236}">
                <a16:creationId xmlns:a16="http://schemas.microsoft.com/office/drawing/2014/main" id="{4A71E533-BFEB-1477-5D7B-80FF13533104}"/>
              </a:ext>
            </a:extLst>
          </p:cNvPr>
          <p:cNvSpPr txBox="1"/>
          <p:nvPr/>
        </p:nvSpPr>
        <p:spPr>
          <a:xfrm>
            <a:off x="4457575" y="3314810"/>
            <a:ext cx="601447" cy="584775"/>
          </a:xfrm>
          <a:prstGeom prst="rect">
            <a:avLst/>
          </a:prstGeom>
          <a:noFill/>
        </p:spPr>
        <p:txBody>
          <a:bodyPr wrap="none" rtlCol="0" anchor="ctr">
            <a:spAutoFit/>
          </a:bodyPr>
          <a:lstStyle/>
          <a:p>
            <a:pPr algn="ctr"/>
            <a:r>
              <a:rPr lang="en-US" sz="3200" b="1" dirty="0">
                <a:solidFill>
                  <a:schemeClr val="bg1"/>
                </a:solidFill>
              </a:rPr>
              <a:t>01</a:t>
            </a:r>
          </a:p>
        </p:txBody>
      </p:sp>
      <p:sp>
        <p:nvSpPr>
          <p:cNvPr id="95" name="TextBox 29">
            <a:extLst>
              <a:ext uri="{FF2B5EF4-FFF2-40B4-BE49-F238E27FC236}">
                <a16:creationId xmlns:a16="http://schemas.microsoft.com/office/drawing/2014/main" id="{D1AB9F61-2F12-608B-7E39-B702839047B4}"/>
              </a:ext>
            </a:extLst>
          </p:cNvPr>
          <p:cNvSpPr txBox="1"/>
          <p:nvPr/>
        </p:nvSpPr>
        <p:spPr>
          <a:xfrm>
            <a:off x="7207301" y="3314810"/>
            <a:ext cx="601447" cy="584775"/>
          </a:xfrm>
          <a:prstGeom prst="rect">
            <a:avLst/>
          </a:prstGeom>
          <a:noFill/>
        </p:spPr>
        <p:txBody>
          <a:bodyPr wrap="none" rtlCol="0" anchor="ctr">
            <a:spAutoFit/>
          </a:bodyPr>
          <a:lstStyle/>
          <a:p>
            <a:pPr algn="ctr"/>
            <a:r>
              <a:rPr lang="en-US" sz="3200" b="1" dirty="0">
                <a:solidFill>
                  <a:schemeClr val="bg1"/>
                </a:solidFill>
              </a:rPr>
              <a:t>02</a:t>
            </a:r>
          </a:p>
        </p:txBody>
      </p:sp>
      <p:sp>
        <p:nvSpPr>
          <p:cNvPr id="96" name="TextBox 30">
            <a:extLst>
              <a:ext uri="{FF2B5EF4-FFF2-40B4-BE49-F238E27FC236}">
                <a16:creationId xmlns:a16="http://schemas.microsoft.com/office/drawing/2014/main" id="{4D98135B-88FC-12BE-96AE-C202AB01DD54}"/>
              </a:ext>
            </a:extLst>
          </p:cNvPr>
          <p:cNvSpPr txBox="1"/>
          <p:nvPr/>
        </p:nvSpPr>
        <p:spPr>
          <a:xfrm>
            <a:off x="4457575" y="4211902"/>
            <a:ext cx="601447" cy="584775"/>
          </a:xfrm>
          <a:prstGeom prst="rect">
            <a:avLst/>
          </a:prstGeom>
          <a:noFill/>
        </p:spPr>
        <p:txBody>
          <a:bodyPr wrap="none" rtlCol="0" anchor="ctr">
            <a:spAutoFit/>
          </a:bodyPr>
          <a:lstStyle/>
          <a:p>
            <a:pPr algn="ctr"/>
            <a:r>
              <a:rPr lang="en-US" sz="3200" b="1" dirty="0">
                <a:solidFill>
                  <a:schemeClr val="bg1"/>
                </a:solidFill>
              </a:rPr>
              <a:t>04</a:t>
            </a:r>
          </a:p>
        </p:txBody>
      </p:sp>
      <p:sp>
        <p:nvSpPr>
          <p:cNvPr id="97" name="TextBox 42">
            <a:extLst>
              <a:ext uri="{FF2B5EF4-FFF2-40B4-BE49-F238E27FC236}">
                <a16:creationId xmlns:a16="http://schemas.microsoft.com/office/drawing/2014/main" id="{AD244426-2133-B73D-000D-44545BB737EE}"/>
              </a:ext>
            </a:extLst>
          </p:cNvPr>
          <p:cNvSpPr txBox="1"/>
          <p:nvPr/>
        </p:nvSpPr>
        <p:spPr>
          <a:xfrm>
            <a:off x="7207300" y="4211902"/>
            <a:ext cx="601447" cy="584775"/>
          </a:xfrm>
          <a:prstGeom prst="rect">
            <a:avLst/>
          </a:prstGeom>
          <a:noFill/>
        </p:spPr>
        <p:txBody>
          <a:bodyPr wrap="none" rtlCol="0" anchor="ctr">
            <a:spAutoFit/>
          </a:bodyPr>
          <a:lstStyle/>
          <a:p>
            <a:pPr algn="ctr"/>
            <a:r>
              <a:rPr lang="en-US" sz="3200" b="1" dirty="0">
                <a:solidFill>
                  <a:schemeClr val="bg1"/>
                </a:solidFill>
              </a:rPr>
              <a:t>03</a:t>
            </a:r>
          </a:p>
        </p:txBody>
      </p:sp>
      <p:pic>
        <p:nvPicPr>
          <p:cNvPr id="98" name="Graphic 45">
            <a:extLst>
              <a:ext uri="{FF2B5EF4-FFF2-40B4-BE49-F238E27FC236}">
                <a16:creationId xmlns:a16="http://schemas.microsoft.com/office/drawing/2014/main" id="{47C0DF2B-BB32-8487-6F66-0502AC8F0C7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414605" y="2560972"/>
            <a:ext cx="546471" cy="496791"/>
          </a:xfrm>
          <a:prstGeom prst="rect">
            <a:avLst/>
          </a:prstGeom>
        </p:spPr>
      </p:pic>
      <p:pic>
        <p:nvPicPr>
          <p:cNvPr id="99" name="Graphic 47">
            <a:extLst>
              <a:ext uri="{FF2B5EF4-FFF2-40B4-BE49-F238E27FC236}">
                <a16:creationId xmlns:a16="http://schemas.microsoft.com/office/drawing/2014/main" id="{92A15454-223A-F489-23EB-60435DBDD04C}"/>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5305246" y="5037700"/>
            <a:ext cx="546471" cy="528842"/>
          </a:xfrm>
          <a:prstGeom prst="rect">
            <a:avLst/>
          </a:prstGeom>
        </p:spPr>
      </p:pic>
      <p:pic>
        <p:nvPicPr>
          <p:cNvPr id="100" name="Graphic 49">
            <a:extLst>
              <a:ext uri="{FF2B5EF4-FFF2-40B4-BE49-F238E27FC236}">
                <a16:creationId xmlns:a16="http://schemas.microsoft.com/office/drawing/2014/main" id="{B0888BCF-43A2-BB11-2549-7391D535FF30}"/>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5305246" y="2536132"/>
            <a:ext cx="546471" cy="546471"/>
          </a:xfrm>
          <a:prstGeom prst="rect">
            <a:avLst/>
          </a:prstGeom>
        </p:spPr>
      </p:pic>
      <p:pic>
        <p:nvPicPr>
          <p:cNvPr id="101" name="Graphic 51">
            <a:extLst>
              <a:ext uri="{FF2B5EF4-FFF2-40B4-BE49-F238E27FC236}">
                <a16:creationId xmlns:a16="http://schemas.microsoft.com/office/drawing/2014/main" id="{82ACCBA5-DA02-49FB-8986-28C5A339B34B}"/>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6414605" y="5047102"/>
            <a:ext cx="546471" cy="510039"/>
          </a:xfrm>
          <a:prstGeom prst="rect">
            <a:avLst/>
          </a:prstGeom>
        </p:spPr>
      </p:pic>
      <p:sp>
        <p:nvSpPr>
          <p:cNvPr id="3" name="Rectangle 2">
            <a:extLst>
              <a:ext uri="{FF2B5EF4-FFF2-40B4-BE49-F238E27FC236}">
                <a16:creationId xmlns:a16="http://schemas.microsoft.com/office/drawing/2014/main" id="{22BD5523-8875-4F32-8DC4-4C68F6B4285D}"/>
              </a:ext>
            </a:extLst>
          </p:cNvPr>
          <p:cNvSpPr/>
          <p:nvPr/>
        </p:nvSpPr>
        <p:spPr>
          <a:xfrm>
            <a:off x="11494968" y="6273225"/>
            <a:ext cx="601447" cy="584775"/>
          </a:xfrm>
          <a:prstGeom prst="rect">
            <a:avLst/>
          </a:prstGeom>
        </p:spPr>
        <p:txBody>
          <a:bodyPr wrap="none">
            <a:spAutoFit/>
          </a:bodyPr>
          <a:lstStyle/>
          <a:p>
            <a:r>
              <a:rPr lang="en-US"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17</a:t>
            </a:r>
            <a:endParaRPr lang="fr-TN" sz="3200" dirty="0"/>
          </a:p>
        </p:txBody>
      </p:sp>
    </p:spTree>
    <p:extLst>
      <p:ext uri="{BB962C8B-B14F-4D97-AF65-F5344CB8AC3E}">
        <p14:creationId xmlns:p14="http://schemas.microsoft.com/office/powerpoint/2010/main" val="220047027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A84BB8-3343-8311-B0E5-548ECD7DECD5}"/>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CAEDE031-72C7-EAC8-AE69-F4758D34E0AF}"/>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cxnSp>
        <p:nvCxnSpPr>
          <p:cNvPr id="10" name="Straight Connector 9">
            <a:extLst>
              <a:ext uri="{FF2B5EF4-FFF2-40B4-BE49-F238E27FC236}">
                <a16:creationId xmlns:a16="http://schemas.microsoft.com/office/drawing/2014/main" id="{84A23393-8AEE-1F94-DF19-CB6D1CF4D70D}"/>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5" name="!!model">
            <a:extLst>
              <a:ext uri="{FF2B5EF4-FFF2-40B4-BE49-F238E27FC236}">
                <a16:creationId xmlns:a16="http://schemas.microsoft.com/office/drawing/2014/main" id="{FA47EFE2-7C2D-793E-64BC-8818A1269398}"/>
              </a:ext>
            </a:extLst>
          </p:cNvPr>
          <p:cNvGrpSpPr/>
          <p:nvPr/>
        </p:nvGrpSpPr>
        <p:grpSpPr>
          <a:xfrm>
            <a:off x="5842207" y="369986"/>
            <a:ext cx="507586" cy="507586"/>
            <a:chOff x="5832785" y="1868829"/>
            <a:chExt cx="507586" cy="507586"/>
          </a:xfrm>
        </p:grpSpPr>
        <p:sp>
          <p:nvSpPr>
            <p:cNvPr id="26" name="Oval 25">
              <a:extLst>
                <a:ext uri="{FF2B5EF4-FFF2-40B4-BE49-F238E27FC236}">
                  <a16:creationId xmlns:a16="http://schemas.microsoft.com/office/drawing/2014/main" id="{2EB56583-2F30-E624-D90B-DDD1FEB491BB}"/>
                </a:ext>
              </a:extLst>
            </p:cNvPr>
            <p:cNvSpPr/>
            <p:nvPr/>
          </p:nvSpPr>
          <p:spPr>
            <a:xfrm>
              <a:off x="5832785" y="1868829"/>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7" name="Graphic 26">
              <a:extLst>
                <a:ext uri="{FF2B5EF4-FFF2-40B4-BE49-F238E27FC236}">
                  <a16:creationId xmlns:a16="http://schemas.microsoft.com/office/drawing/2014/main" id="{315A4B13-272C-D6B6-B654-21C8C434526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60578" y="1996622"/>
              <a:ext cx="252000" cy="252000"/>
            </a:xfrm>
            <a:prstGeom prst="rect">
              <a:avLst/>
            </a:prstGeom>
          </p:spPr>
        </p:pic>
      </p:grpSp>
      <p:sp>
        <p:nvSpPr>
          <p:cNvPr id="21" name="TextBox 20">
            <a:extLst>
              <a:ext uri="{FF2B5EF4-FFF2-40B4-BE49-F238E27FC236}">
                <a16:creationId xmlns:a16="http://schemas.microsoft.com/office/drawing/2014/main" id="{7A6FB964-62F0-CD9C-ABD7-30F65ECD3F75}"/>
              </a:ext>
            </a:extLst>
          </p:cNvPr>
          <p:cNvSpPr txBox="1"/>
          <p:nvPr/>
        </p:nvSpPr>
        <p:spPr>
          <a:xfrm>
            <a:off x="314724" y="961830"/>
            <a:ext cx="10598405" cy="587212"/>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800" dirty="0"/>
              <a:t>Business Model Canvas (BMC)</a:t>
            </a:r>
            <a:endParaRPr lang="en-GB" sz="4800" dirty="0"/>
          </a:p>
        </p:txBody>
      </p:sp>
      <p:sp>
        <p:nvSpPr>
          <p:cNvPr id="4" name="TextBox 1">
            <a:extLst>
              <a:ext uri="{FF2B5EF4-FFF2-40B4-BE49-F238E27FC236}">
                <a16:creationId xmlns:a16="http://schemas.microsoft.com/office/drawing/2014/main" id="{33866469-9AED-3FE7-0447-2395DE4AD67F}"/>
              </a:ext>
            </a:extLst>
          </p:cNvPr>
          <p:cNvSpPr txBox="1"/>
          <p:nvPr/>
        </p:nvSpPr>
        <p:spPr>
          <a:xfrm>
            <a:off x="908648" y="407551"/>
            <a:ext cx="1239122"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lang="en-US" kern="0" dirty="0">
                <a:solidFill>
                  <a:prstClr val="white"/>
                </a:solidFill>
                <a:latin typeface="Darker Grotesque" pitchFamily="2" charset="0"/>
              </a:rPr>
              <a:t>C</a:t>
            </a:r>
            <a:r>
              <a:rPr kumimoji="0" lang="en-US" b="0" i="0" u="none" strike="noStrike" kern="0" cap="none" spc="0" normalizeH="0" baseline="0" noProof="0" dirty="0" err="1">
                <a:ln>
                  <a:noFill/>
                </a:ln>
                <a:solidFill>
                  <a:prstClr val="white"/>
                </a:solidFill>
                <a:effectLst/>
                <a:uLnTx/>
                <a:uFillTx/>
                <a:latin typeface="Darker Grotesque" pitchFamily="2" charset="0"/>
              </a:rPr>
              <a:t>ommerciale</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sp>
        <p:nvSpPr>
          <p:cNvPr id="403" name="Google Shape;641;p50">
            <a:extLst>
              <a:ext uri="{FF2B5EF4-FFF2-40B4-BE49-F238E27FC236}">
                <a16:creationId xmlns:a16="http://schemas.microsoft.com/office/drawing/2014/main" id="{F835B172-619A-20DA-A69A-B387BC490060}"/>
              </a:ext>
            </a:extLst>
          </p:cNvPr>
          <p:cNvSpPr/>
          <p:nvPr/>
        </p:nvSpPr>
        <p:spPr>
          <a:xfrm>
            <a:off x="713075" y="1644198"/>
            <a:ext cx="10943306" cy="5147213"/>
          </a:xfrm>
          <a:prstGeom prst="roundRect">
            <a:avLst>
              <a:gd name="adj" fmla="val 4235"/>
            </a:avLst>
          </a:prstGeom>
          <a:solidFill>
            <a:schemeClr val="lt1"/>
          </a:solidFill>
          <a:ln>
            <a:noFill/>
          </a:ln>
          <a:effectLst>
            <a:outerShdw blurRad="571500" dist="142875" dir="5100000" algn="bl" rotWithShape="0">
              <a:srgbClr val="000000">
                <a:alpha val="15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642;p50">
            <a:extLst>
              <a:ext uri="{FF2B5EF4-FFF2-40B4-BE49-F238E27FC236}">
                <a16:creationId xmlns:a16="http://schemas.microsoft.com/office/drawing/2014/main" id="{C7DB07B5-FC42-5C16-FBA2-9A801AD8C869}"/>
              </a:ext>
            </a:extLst>
          </p:cNvPr>
          <p:cNvSpPr/>
          <p:nvPr/>
        </p:nvSpPr>
        <p:spPr>
          <a:xfrm>
            <a:off x="841999" y="1734493"/>
            <a:ext cx="10577906" cy="4824086"/>
          </a:xfrm>
          <a:prstGeom prst="roundRect">
            <a:avLst>
              <a:gd name="adj" fmla="val 4235"/>
            </a:avLst>
          </a:prstGeom>
          <a:solidFill>
            <a:schemeClr val="lt1"/>
          </a:solidFill>
          <a:ln w="28575" cap="flat" cmpd="sng">
            <a:solidFill>
              <a:srgbClr val="D9D9D9"/>
            </a:solidFill>
            <a:prstDash val="solid"/>
            <a:round/>
            <a:headEnd type="none" w="sm" len="sm"/>
            <a:tailEnd type="none" w="sm" len="sm"/>
          </a:ln>
          <a:effectLst>
            <a:outerShdw blurRad="571500" dist="142875" dir="5100000" algn="bl" rotWithShape="0">
              <a:srgbClr val="000000">
                <a:alpha val="15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aphicFrame>
        <p:nvGraphicFramePr>
          <p:cNvPr id="405" name="Google Shape;644;p50">
            <a:extLst>
              <a:ext uri="{FF2B5EF4-FFF2-40B4-BE49-F238E27FC236}">
                <a16:creationId xmlns:a16="http://schemas.microsoft.com/office/drawing/2014/main" id="{0A8E3717-DD31-512F-BEAA-E93B73534120}"/>
              </a:ext>
            </a:extLst>
          </p:cNvPr>
          <p:cNvGraphicFramePr/>
          <p:nvPr/>
        </p:nvGraphicFramePr>
        <p:xfrm>
          <a:off x="994519" y="1760613"/>
          <a:ext cx="10163324" cy="4809177"/>
        </p:xfrm>
        <a:graphic>
          <a:graphicData uri="http://schemas.openxmlformats.org/drawingml/2006/table">
            <a:tbl>
              <a:tblPr>
                <a:noFill/>
              </a:tblPr>
              <a:tblGrid>
                <a:gridCol w="2540847">
                  <a:extLst>
                    <a:ext uri="{9D8B030D-6E8A-4147-A177-3AD203B41FA5}">
                      <a16:colId xmlns:a16="http://schemas.microsoft.com/office/drawing/2014/main" val="20000"/>
                    </a:ext>
                  </a:extLst>
                </a:gridCol>
                <a:gridCol w="1799282">
                  <a:extLst>
                    <a:ext uri="{9D8B030D-6E8A-4147-A177-3AD203B41FA5}">
                      <a16:colId xmlns:a16="http://schemas.microsoft.com/office/drawing/2014/main" val="20002"/>
                    </a:ext>
                  </a:extLst>
                </a:gridCol>
                <a:gridCol w="741533">
                  <a:extLst>
                    <a:ext uri="{9D8B030D-6E8A-4147-A177-3AD203B41FA5}">
                      <a16:colId xmlns:a16="http://schemas.microsoft.com/office/drawing/2014/main" val="20003"/>
                    </a:ext>
                  </a:extLst>
                </a:gridCol>
                <a:gridCol w="1270424">
                  <a:extLst>
                    <a:ext uri="{9D8B030D-6E8A-4147-A177-3AD203B41FA5}">
                      <a16:colId xmlns:a16="http://schemas.microsoft.com/office/drawing/2014/main" val="20004"/>
                    </a:ext>
                  </a:extLst>
                </a:gridCol>
                <a:gridCol w="1799282">
                  <a:extLst>
                    <a:ext uri="{9D8B030D-6E8A-4147-A177-3AD203B41FA5}">
                      <a16:colId xmlns:a16="http://schemas.microsoft.com/office/drawing/2014/main" val="20005"/>
                    </a:ext>
                  </a:extLst>
                </a:gridCol>
                <a:gridCol w="2011956">
                  <a:extLst>
                    <a:ext uri="{9D8B030D-6E8A-4147-A177-3AD203B41FA5}">
                      <a16:colId xmlns:a16="http://schemas.microsoft.com/office/drawing/2014/main" val="20006"/>
                    </a:ext>
                  </a:extLst>
                </a:gridCol>
              </a:tblGrid>
              <a:tr h="2027300">
                <a:tc rowSpan="2">
                  <a:txBody>
                    <a:bodyPr/>
                    <a:lstStyle/>
                    <a:p>
                      <a:pPr marL="0" lvl="0" indent="0" algn="l" rtl="0">
                        <a:lnSpc>
                          <a:spcPct val="100000"/>
                        </a:lnSpc>
                        <a:spcBef>
                          <a:spcPts val="0"/>
                        </a:spcBef>
                        <a:spcAft>
                          <a:spcPts val="0"/>
                        </a:spcAft>
                        <a:buNone/>
                      </a:pPr>
                      <a:r>
                        <a:rPr lang="fr-FR" sz="1100" b="1" i="0" kern="1200" dirty="0">
                          <a:solidFill>
                            <a:schemeClr val="tx1"/>
                          </a:solidFill>
                          <a:effectLst/>
                          <a:latin typeface="+mn-lt"/>
                          <a:ea typeface="+mn-ea"/>
                          <a:cs typeface="+mn-cs"/>
                        </a:rPr>
                        <a:t>Partenaires clés</a:t>
                      </a:r>
                    </a:p>
                    <a:p>
                      <a:pPr marL="171450" indent="-171450">
                        <a:buFont typeface="Arial" panose="020B0604020202020204" pitchFamily="34" charset="0"/>
                        <a:buChar char="•"/>
                      </a:pPr>
                      <a:endParaRPr lang="fr-FR" sz="1100" kern="1200" dirty="0">
                        <a:solidFill>
                          <a:schemeClr val="tx1"/>
                        </a:solidFill>
                        <a:effectLst/>
                        <a:latin typeface="+mn-lt"/>
                        <a:ea typeface="+mn-ea"/>
                        <a:cs typeface="+mn-cs"/>
                      </a:endParaRPr>
                    </a:p>
                    <a:p>
                      <a:pPr marL="171450" indent="-171450">
                        <a:buFont typeface="Arial" panose="020B0604020202020204" pitchFamily="34" charset="0"/>
                        <a:buChar char="•"/>
                      </a:pPr>
                      <a:r>
                        <a:rPr lang="fr-FR" sz="1100" b="1" i="0" kern="1200" dirty="0">
                          <a:solidFill>
                            <a:schemeClr val="tx1"/>
                          </a:solidFill>
                          <a:effectLst/>
                          <a:latin typeface="+mn-lt"/>
                          <a:ea typeface="+mn-ea"/>
                          <a:cs typeface="+mn-cs"/>
                        </a:rPr>
                        <a:t>Fournisseurs de services de paiement en ligne</a:t>
                      </a:r>
                      <a:endParaRPr lang="fr-FR" sz="400" dirty="0"/>
                    </a:p>
                    <a:p>
                      <a:pPr marL="171450" indent="-171450">
                        <a:buFont typeface="Arial" panose="020B0604020202020204" pitchFamily="34" charset="0"/>
                        <a:buChar char="•"/>
                      </a:pPr>
                      <a:r>
                        <a:rPr lang="fr-FR" sz="1100" b="1" i="0" kern="1200" dirty="0">
                          <a:solidFill>
                            <a:schemeClr val="tx1"/>
                          </a:solidFill>
                          <a:effectLst/>
                          <a:latin typeface="+mn-lt"/>
                          <a:ea typeface="+mn-ea"/>
                          <a:cs typeface="+mn-cs"/>
                        </a:rPr>
                        <a:t>Plateformes cloud : </a:t>
                      </a:r>
                      <a:r>
                        <a:rPr lang="fr-FR" sz="1100" b="1" i="0" kern="1200" dirty="0" err="1">
                          <a:solidFill>
                            <a:schemeClr val="tx1"/>
                          </a:solidFill>
                          <a:effectLst/>
                          <a:latin typeface="+mn-lt"/>
                          <a:ea typeface="+mn-ea"/>
                          <a:cs typeface="+mn-cs"/>
                        </a:rPr>
                        <a:t>Firebase</a:t>
                      </a:r>
                      <a:endParaRPr lang="fr-FR" sz="400" dirty="0"/>
                    </a:p>
                    <a:p>
                      <a:pPr marL="171450" indent="-171450">
                        <a:buFont typeface="Arial" panose="020B0604020202020204" pitchFamily="34" charset="0"/>
                        <a:buChar char="•"/>
                      </a:pPr>
                      <a:r>
                        <a:rPr lang="fr-FR" sz="1100" b="1" i="0" kern="1200" dirty="0">
                          <a:solidFill>
                            <a:schemeClr val="tx1"/>
                          </a:solidFill>
                          <a:effectLst/>
                          <a:latin typeface="+mn-lt"/>
                          <a:ea typeface="+mn-ea"/>
                          <a:cs typeface="+mn-cs"/>
                        </a:rPr>
                        <a:t>Influenceurs</a:t>
                      </a:r>
                      <a:endParaRPr lang="fr-FR" sz="400" dirty="0"/>
                    </a:p>
                    <a:p>
                      <a:pPr marL="171450" indent="-171450">
                        <a:buFont typeface="Arial" panose="020B0604020202020204" pitchFamily="34" charset="0"/>
                        <a:buChar char="•"/>
                      </a:pPr>
                      <a:r>
                        <a:rPr lang="fr-FR" sz="1100" b="1" i="0" kern="1200" dirty="0">
                          <a:solidFill>
                            <a:schemeClr val="tx1"/>
                          </a:solidFill>
                          <a:effectLst/>
                          <a:latin typeface="+mn-lt"/>
                          <a:ea typeface="+mn-ea"/>
                          <a:cs typeface="+mn-cs"/>
                        </a:rPr>
                        <a:t>Agence de Marketing</a:t>
                      </a:r>
                      <a:endParaRPr lang="fr-FR" sz="400" dirty="0"/>
                    </a:p>
                  </a:txBody>
                  <a:tcPr marL="91425" marR="91425" marT="91425" marB="91425">
                    <a:lnL w="28575" cap="flat" cmpd="sng">
                      <a:solidFill>
                        <a:srgbClr val="D9D9D9">
                          <a:alpha val="0"/>
                        </a:srgbClr>
                      </a:solidFill>
                      <a:prstDash val="solid"/>
                      <a:round/>
                      <a:headEnd type="none" w="sm" len="sm"/>
                      <a:tailEnd type="none" w="sm" len="sm"/>
                    </a:lnL>
                    <a:lnR w="28575" cap="flat" cmpd="sng">
                      <a:solidFill>
                        <a:srgbClr val="D9D9D9"/>
                      </a:solidFill>
                      <a:prstDash val="solid"/>
                      <a:round/>
                      <a:headEnd type="none" w="sm" len="sm"/>
                      <a:tailEnd type="none" w="sm" len="sm"/>
                    </a:lnR>
                    <a:lnT w="28575" cap="flat" cmpd="sng">
                      <a:solidFill>
                        <a:srgbClr val="D9D9D9">
                          <a:alpha val="0"/>
                        </a:srgbClr>
                      </a:solidFill>
                      <a:prstDash val="solid"/>
                      <a:round/>
                      <a:headEnd type="none" w="sm" len="sm"/>
                      <a:tailEnd type="none" w="sm" len="sm"/>
                    </a:lnT>
                    <a:lnB w="28575" cap="flat" cmpd="sng">
                      <a:solidFill>
                        <a:srgbClr val="D9D9D9"/>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fr-FR" sz="1100" b="1" i="0" kern="1200" dirty="0">
                          <a:solidFill>
                            <a:schemeClr val="tx1"/>
                          </a:solidFill>
                          <a:effectLst/>
                          <a:latin typeface="+mn-lt"/>
                          <a:ea typeface="+mn-ea"/>
                          <a:cs typeface="+mn-cs"/>
                        </a:rPr>
                        <a:t>Activités clés</a:t>
                      </a:r>
                    </a:p>
                    <a:p>
                      <a:pPr marL="0" lvl="0" indent="0" algn="l" rtl="0">
                        <a:lnSpc>
                          <a:spcPct val="100000"/>
                        </a:lnSpc>
                        <a:spcBef>
                          <a:spcPts val="0"/>
                        </a:spcBef>
                        <a:spcAft>
                          <a:spcPts val="0"/>
                        </a:spcAft>
                        <a:buNone/>
                      </a:pPr>
                      <a:endParaRPr sz="200" dirty="0">
                        <a:solidFill>
                          <a:schemeClr val="dk1"/>
                        </a:solidFill>
                        <a:latin typeface="Nunito"/>
                        <a:ea typeface="Nunito"/>
                        <a:cs typeface="Nunito"/>
                        <a:sym typeface="Nunito"/>
                      </a:endParaRPr>
                    </a:p>
                    <a:p>
                      <a:pPr marL="171450" indent="-171450">
                        <a:buFont typeface="Arial" panose="020B0604020202020204" pitchFamily="34" charset="0"/>
                        <a:buChar char="•"/>
                      </a:pPr>
                      <a:r>
                        <a:rPr lang="fr-FR" sz="900" b="1" i="0" kern="1200" dirty="0">
                          <a:solidFill>
                            <a:schemeClr val="tx1"/>
                          </a:solidFill>
                          <a:effectLst/>
                          <a:latin typeface="+mn-lt"/>
                          <a:ea typeface="+mn-ea"/>
                          <a:cs typeface="+mn-cs"/>
                        </a:rPr>
                        <a:t>Développement et maintenance de la plateforme</a:t>
                      </a:r>
                      <a:endParaRPr lang="fr-FR" sz="100" dirty="0"/>
                    </a:p>
                    <a:p>
                      <a:pPr marL="171450" indent="-171450">
                        <a:buFont typeface="Arial" panose="020B0604020202020204" pitchFamily="34" charset="0"/>
                        <a:buChar char="•"/>
                      </a:pPr>
                      <a:r>
                        <a:rPr lang="fr-FR" sz="900" b="1" i="0" kern="1200" dirty="0">
                          <a:solidFill>
                            <a:schemeClr val="tx1"/>
                          </a:solidFill>
                          <a:effectLst/>
                          <a:latin typeface="+mn-lt"/>
                          <a:ea typeface="+mn-ea"/>
                          <a:cs typeface="+mn-cs"/>
                        </a:rPr>
                        <a:t>Gestion des prestataires</a:t>
                      </a:r>
                      <a:endParaRPr lang="fr-FR" sz="100" dirty="0"/>
                    </a:p>
                    <a:p>
                      <a:pPr marL="171450" indent="-171450">
                        <a:buFont typeface="Arial" panose="020B0604020202020204" pitchFamily="34" charset="0"/>
                        <a:buChar char="•"/>
                      </a:pPr>
                      <a:r>
                        <a:rPr lang="fr-FR" sz="900" b="1" i="0" kern="1200" dirty="0">
                          <a:solidFill>
                            <a:schemeClr val="tx1"/>
                          </a:solidFill>
                          <a:effectLst/>
                          <a:latin typeface="+mn-lt"/>
                          <a:ea typeface="+mn-ea"/>
                          <a:cs typeface="+mn-cs"/>
                        </a:rPr>
                        <a:t>Mise à jour des offres en temps réel</a:t>
                      </a:r>
                      <a:endParaRPr lang="fr-FR" sz="100" dirty="0"/>
                    </a:p>
                    <a:p>
                      <a:pPr marL="171450" indent="-171450">
                        <a:buFont typeface="Arial" panose="020B0604020202020204" pitchFamily="34" charset="0"/>
                        <a:buChar char="•"/>
                      </a:pPr>
                      <a:r>
                        <a:rPr lang="fr-FR" sz="900" b="1" i="0" kern="1200" dirty="0">
                          <a:solidFill>
                            <a:schemeClr val="tx1"/>
                          </a:solidFill>
                          <a:effectLst/>
                          <a:latin typeface="+mn-lt"/>
                          <a:ea typeface="+mn-ea"/>
                          <a:cs typeface="+mn-cs"/>
                        </a:rPr>
                        <a:t>Mise en place d’une stratégie marketing agile</a:t>
                      </a:r>
                      <a:endParaRPr lang="fr-FR" sz="100" dirty="0"/>
                    </a:p>
                    <a:p>
                      <a:pPr marL="171450" indent="-171450">
                        <a:buFont typeface="Arial" panose="020B0604020202020204" pitchFamily="34" charset="0"/>
                        <a:buChar char="•"/>
                      </a:pPr>
                      <a:r>
                        <a:rPr lang="fr-FR" sz="900" b="1" i="0" kern="1200" dirty="0">
                          <a:solidFill>
                            <a:schemeClr val="tx1"/>
                          </a:solidFill>
                          <a:effectLst/>
                          <a:latin typeface="+mn-lt"/>
                          <a:ea typeface="+mn-ea"/>
                          <a:cs typeface="+mn-cs"/>
                        </a:rPr>
                        <a:t>Recherche de nouveaux prestataires</a:t>
                      </a:r>
                      <a:endParaRPr lang="fr-FR" sz="100" dirty="0"/>
                    </a:p>
                    <a:p>
                      <a:pPr marL="171450" indent="-171450">
                        <a:buFont typeface="Arial" panose="020B0604020202020204" pitchFamily="34" charset="0"/>
                        <a:buChar char="•"/>
                      </a:pPr>
                      <a:r>
                        <a:rPr lang="fr-FR" sz="900" b="1" i="0" kern="1200" dirty="0">
                          <a:solidFill>
                            <a:schemeClr val="tx1"/>
                          </a:solidFill>
                          <a:effectLst/>
                          <a:latin typeface="+mn-lt"/>
                          <a:ea typeface="+mn-ea"/>
                          <a:cs typeface="+mn-cs"/>
                        </a:rPr>
                        <a:t>Gestion et analyse de données</a:t>
                      </a:r>
                      <a:endParaRPr lang="fr-FR" sz="100" dirty="0"/>
                    </a:p>
                  </a:txBody>
                  <a:tcPr marL="91425" marR="91425" marT="91425" marB="91425">
                    <a:lnL w="28575" cap="flat" cmpd="sng" algn="ctr">
                      <a:solidFill>
                        <a:srgbClr val="D9D9D9"/>
                      </a:solidFill>
                      <a:prstDash val="solid"/>
                      <a:round/>
                      <a:headEnd type="none" w="sm" len="sm"/>
                      <a:tailEnd type="none" w="sm" len="sm"/>
                    </a:lnL>
                    <a:lnR w="28575" cap="flat" cmpd="sng">
                      <a:solidFill>
                        <a:srgbClr val="D9D9D9"/>
                      </a:solidFill>
                      <a:prstDash val="solid"/>
                      <a:round/>
                      <a:headEnd type="none" w="sm" len="sm"/>
                      <a:tailEnd type="none" w="sm" len="sm"/>
                    </a:lnR>
                    <a:lnT w="28575" cap="flat" cmpd="sng">
                      <a:solidFill>
                        <a:srgbClr val="D9D9D9"/>
                      </a:solidFill>
                      <a:prstDash val="solid"/>
                      <a:round/>
                      <a:headEnd type="none" w="sm" len="sm"/>
                      <a:tailEnd type="none" w="sm" len="sm"/>
                    </a:lnT>
                    <a:lnB w="28575" cap="flat" cmpd="sng" algn="ctr">
                      <a:solidFill>
                        <a:srgbClr val="D9D9D9"/>
                      </a:solidFill>
                      <a:prstDash val="solid"/>
                      <a:round/>
                      <a:headEnd type="none" w="sm" len="sm"/>
                      <a:tailEnd type="none" w="sm" len="sm"/>
                    </a:lnB>
                  </a:tcPr>
                </a:tc>
                <a:tc rowSpan="2" gridSpan="2">
                  <a:txBody>
                    <a:bodyPr/>
                    <a:lstStyle/>
                    <a:p>
                      <a:pPr marL="0" lvl="0" indent="0" algn="l" rtl="0">
                        <a:lnSpc>
                          <a:spcPct val="100000"/>
                        </a:lnSpc>
                        <a:spcBef>
                          <a:spcPts val="0"/>
                        </a:spcBef>
                        <a:spcAft>
                          <a:spcPts val="0"/>
                        </a:spcAft>
                        <a:buNone/>
                      </a:pPr>
                      <a:r>
                        <a:rPr lang="fr-FR" sz="900" b="1" i="0" kern="1200" dirty="0">
                          <a:solidFill>
                            <a:schemeClr val="tx1"/>
                          </a:solidFill>
                          <a:effectLst/>
                          <a:latin typeface="+mn-lt"/>
                          <a:ea typeface="+mn-ea"/>
                          <a:cs typeface="+mn-cs"/>
                        </a:rPr>
                        <a:t>Propositions de valeur</a:t>
                      </a:r>
                    </a:p>
                    <a:p>
                      <a:pPr marL="0" lvl="0" indent="0" algn="l" rtl="0">
                        <a:lnSpc>
                          <a:spcPct val="100000"/>
                        </a:lnSpc>
                        <a:spcBef>
                          <a:spcPts val="0"/>
                        </a:spcBef>
                        <a:spcAft>
                          <a:spcPts val="0"/>
                        </a:spcAft>
                        <a:buNone/>
                      </a:pPr>
                      <a:endParaRPr lang="fr-FR" sz="900" b="1" i="0" kern="1200" dirty="0">
                        <a:solidFill>
                          <a:schemeClr val="tx1"/>
                        </a:solidFill>
                        <a:effectLst/>
                        <a:latin typeface="+mn-lt"/>
                        <a:ea typeface="+mn-ea"/>
                        <a:cs typeface="+mn-cs"/>
                      </a:endParaRPr>
                    </a:p>
                    <a:p>
                      <a:pPr marL="0" lvl="0" indent="0" algn="l" rtl="0">
                        <a:lnSpc>
                          <a:spcPct val="100000"/>
                        </a:lnSpc>
                        <a:spcBef>
                          <a:spcPts val="0"/>
                        </a:spcBef>
                        <a:spcAft>
                          <a:spcPts val="0"/>
                        </a:spcAft>
                        <a:buNone/>
                      </a:pPr>
                      <a:endParaRPr sz="100" dirty="0">
                        <a:solidFill>
                          <a:schemeClr val="dk1"/>
                        </a:solidFill>
                        <a:latin typeface="Nunito"/>
                        <a:ea typeface="Nunito"/>
                        <a:cs typeface="Nunito"/>
                        <a:sym typeface="Nunito"/>
                      </a:endParaRPr>
                    </a:p>
                    <a:p>
                      <a:r>
                        <a:rPr lang="fr-FR" sz="1000" b="1" i="0" kern="1200" dirty="0">
                          <a:solidFill>
                            <a:schemeClr val="tx1"/>
                          </a:solidFill>
                          <a:effectLst/>
                          <a:latin typeface="+mn-lt"/>
                          <a:ea typeface="+mn-ea"/>
                          <a:cs typeface="+mn-cs"/>
                        </a:rPr>
                        <a:t>B2C:</a:t>
                      </a:r>
                    </a:p>
                    <a:p>
                      <a:pPr marL="171450" indent="-171450">
                        <a:buFont typeface="Arial" panose="020B0604020202020204" pitchFamily="34" charset="0"/>
                        <a:buChar char="•"/>
                      </a:pPr>
                      <a:r>
                        <a:rPr lang="fr-FR" sz="1000" b="1" i="0" kern="1200" dirty="0">
                          <a:solidFill>
                            <a:schemeClr val="tx1"/>
                          </a:solidFill>
                          <a:effectLst/>
                          <a:latin typeface="+mn-lt"/>
                          <a:ea typeface="+mn-ea"/>
                          <a:cs typeface="+mn-cs"/>
                        </a:rPr>
                        <a:t>Digitalisation de service</a:t>
                      </a:r>
                      <a:endParaRPr lang="fr-FR" sz="200" dirty="0"/>
                    </a:p>
                    <a:p>
                      <a:pPr marL="171450" indent="-171450">
                        <a:buFont typeface="Arial" panose="020B0604020202020204" pitchFamily="34" charset="0"/>
                        <a:buChar char="•"/>
                      </a:pPr>
                      <a:r>
                        <a:rPr lang="fr-FR" sz="1000" b="1" i="0" kern="1200" dirty="0">
                          <a:solidFill>
                            <a:schemeClr val="tx1"/>
                          </a:solidFill>
                          <a:effectLst/>
                          <a:latin typeface="+mn-lt"/>
                          <a:ea typeface="+mn-ea"/>
                          <a:cs typeface="+mn-cs"/>
                        </a:rPr>
                        <a:t>Réservation en quelques clics</a:t>
                      </a:r>
                      <a:endParaRPr lang="fr-FR" sz="200" dirty="0"/>
                    </a:p>
                    <a:p>
                      <a:pPr marL="171450" indent="-171450">
                        <a:buFont typeface="Arial" panose="020B0604020202020204" pitchFamily="34" charset="0"/>
                        <a:buChar char="•"/>
                      </a:pPr>
                      <a:r>
                        <a:rPr lang="fr-FR" sz="1000" b="1" i="0" kern="1200" dirty="0">
                          <a:solidFill>
                            <a:schemeClr val="tx1"/>
                          </a:solidFill>
                          <a:effectLst/>
                          <a:latin typeface="+mn-lt"/>
                          <a:ea typeface="+mn-ea"/>
                          <a:cs typeface="+mn-cs"/>
                        </a:rPr>
                        <a:t>Cartes interactives, visites virtuelles des lieux et suggestions IA</a:t>
                      </a:r>
                      <a:endParaRPr lang="fr-FR" sz="200" dirty="0"/>
                    </a:p>
                    <a:p>
                      <a:pPr marL="171450" indent="-171450">
                        <a:buFont typeface="Arial" panose="020B0604020202020204" pitchFamily="34" charset="0"/>
                        <a:buChar char="•"/>
                      </a:pPr>
                      <a:r>
                        <a:rPr lang="fr-FR" sz="1000" b="1" i="0" kern="1200" dirty="0">
                          <a:solidFill>
                            <a:schemeClr val="tx1"/>
                          </a:solidFill>
                          <a:effectLst/>
                          <a:latin typeface="+mn-lt"/>
                          <a:ea typeface="+mn-ea"/>
                          <a:cs typeface="+mn-cs"/>
                        </a:rPr>
                        <a:t>Paiement sécurisé en ligne</a:t>
                      </a:r>
                      <a:endParaRPr lang="fr-FR" sz="200" dirty="0"/>
                    </a:p>
                    <a:p>
                      <a:pPr marL="171450" indent="-171450">
                        <a:buFont typeface="Arial" panose="020B0604020202020204" pitchFamily="34" charset="0"/>
                        <a:buChar char="•"/>
                      </a:pPr>
                      <a:r>
                        <a:rPr lang="fr-FR" sz="1000" b="1" i="0" kern="1200" dirty="0">
                          <a:solidFill>
                            <a:schemeClr val="tx1"/>
                          </a:solidFill>
                          <a:effectLst/>
                          <a:latin typeface="+mn-lt"/>
                          <a:ea typeface="+mn-ea"/>
                          <a:cs typeface="+mn-cs"/>
                        </a:rPr>
                        <a:t>Offres groupées (cabane + activité nautique)</a:t>
                      </a:r>
                      <a:endParaRPr lang="fr-FR" sz="200" dirty="0"/>
                    </a:p>
                    <a:p>
                      <a:r>
                        <a:rPr lang="fr-FR" sz="1000" b="1" i="0" kern="1200" dirty="0">
                          <a:solidFill>
                            <a:schemeClr val="tx1"/>
                          </a:solidFill>
                          <a:effectLst/>
                          <a:latin typeface="+mn-lt"/>
                          <a:ea typeface="+mn-ea"/>
                          <a:cs typeface="+mn-cs"/>
                        </a:rPr>
                        <a:t>B2B</a:t>
                      </a:r>
                      <a:r>
                        <a:rPr lang="fr-FR" sz="1000" b="0" i="0" kern="1200" dirty="0">
                          <a:solidFill>
                            <a:schemeClr val="tx1"/>
                          </a:solidFill>
                          <a:effectLst/>
                          <a:latin typeface="+mn-lt"/>
                          <a:ea typeface="+mn-ea"/>
                          <a:cs typeface="+mn-cs"/>
                        </a:rPr>
                        <a:t>:</a:t>
                      </a:r>
                      <a:endParaRPr lang="fr-FR" sz="1000" kern="1200" dirty="0">
                        <a:solidFill>
                          <a:schemeClr val="tx1"/>
                        </a:solidFill>
                        <a:effectLst/>
                        <a:latin typeface="+mn-lt"/>
                        <a:ea typeface="+mn-ea"/>
                        <a:cs typeface="+mn-cs"/>
                      </a:endParaRPr>
                    </a:p>
                    <a:p>
                      <a:pPr marL="171450" indent="-171450">
                        <a:buFont typeface="Arial" panose="020B0604020202020204" pitchFamily="34" charset="0"/>
                        <a:buChar char="•"/>
                      </a:pPr>
                      <a:r>
                        <a:rPr lang="fr-FR" sz="1000" b="1" i="0" kern="1200" dirty="0">
                          <a:solidFill>
                            <a:schemeClr val="tx1"/>
                          </a:solidFill>
                          <a:effectLst/>
                          <a:latin typeface="+mn-lt"/>
                          <a:ea typeface="+mn-ea"/>
                          <a:cs typeface="+mn-cs"/>
                        </a:rPr>
                        <a:t>Suivi en temps réel des réservations</a:t>
                      </a:r>
                    </a:p>
                    <a:p>
                      <a:pPr marL="171450" indent="-171450">
                        <a:buFont typeface="Arial" panose="020B0604020202020204" pitchFamily="34" charset="0"/>
                        <a:buChar char="•"/>
                      </a:pPr>
                      <a:endParaRPr lang="fr-FR" sz="1000" b="1" i="0" kern="1200" dirty="0">
                        <a:solidFill>
                          <a:schemeClr val="tx1"/>
                        </a:solidFill>
                        <a:effectLst/>
                        <a:latin typeface="+mn-lt"/>
                        <a:ea typeface="+mn-ea"/>
                        <a:cs typeface="+mn-cs"/>
                      </a:endParaRPr>
                    </a:p>
                    <a:p>
                      <a:pPr marL="171450" indent="-171450">
                        <a:buFont typeface="Arial" panose="020B0604020202020204" pitchFamily="34" charset="0"/>
                        <a:buChar char="•"/>
                      </a:pPr>
                      <a:r>
                        <a:rPr lang="fr-FR" sz="1000" b="1" i="0" kern="1200" dirty="0">
                          <a:solidFill>
                            <a:schemeClr val="tx1"/>
                          </a:solidFill>
                          <a:effectLst/>
                          <a:latin typeface="+mn-lt"/>
                          <a:ea typeface="+mn-ea"/>
                          <a:cs typeface="+mn-cs"/>
                        </a:rPr>
                        <a:t>Réduction des annulations</a:t>
                      </a:r>
                      <a:r>
                        <a:rPr lang="fr-FR" sz="600" b="0" i="0" kern="1200" dirty="0">
                          <a:solidFill>
                            <a:schemeClr val="tx1"/>
                          </a:solidFill>
                          <a:effectLst/>
                          <a:latin typeface="+mn-lt"/>
                          <a:ea typeface="+mn-ea"/>
                          <a:cs typeface="+mn-cs"/>
                        </a:rPr>
                        <a:t> </a:t>
                      </a:r>
                      <a:r>
                        <a:rPr lang="fr-FR" sz="1000" b="1" i="0" kern="1200" dirty="0">
                          <a:solidFill>
                            <a:schemeClr val="tx1"/>
                          </a:solidFill>
                          <a:effectLst/>
                          <a:latin typeface="+mn-lt"/>
                          <a:ea typeface="+mn-ea"/>
                          <a:cs typeface="+mn-cs"/>
                        </a:rPr>
                        <a:t>de réservations</a:t>
                      </a:r>
                    </a:p>
                    <a:p>
                      <a:pPr marL="171450" indent="-171450">
                        <a:buFont typeface="Arial" panose="020B0604020202020204" pitchFamily="34" charset="0"/>
                        <a:buChar char="•"/>
                      </a:pPr>
                      <a:endParaRPr lang="fr-FR" sz="1000" kern="1200" dirty="0">
                        <a:solidFill>
                          <a:schemeClr val="tx1"/>
                        </a:solidFill>
                        <a:effectLst/>
                        <a:latin typeface="+mn-lt"/>
                        <a:ea typeface="+mn-ea"/>
                        <a:cs typeface="+mn-cs"/>
                      </a:endParaRPr>
                    </a:p>
                    <a:p>
                      <a:pPr marL="171450" indent="-171450">
                        <a:buFont typeface="Arial" panose="020B0604020202020204" pitchFamily="34" charset="0"/>
                        <a:buChar char="•"/>
                      </a:pPr>
                      <a:r>
                        <a:rPr lang="fr-FR" sz="1000" b="1" i="0" kern="1200" dirty="0">
                          <a:solidFill>
                            <a:schemeClr val="tx1"/>
                          </a:solidFill>
                          <a:effectLst/>
                          <a:latin typeface="+mn-lt"/>
                          <a:ea typeface="+mn-ea"/>
                          <a:cs typeface="+mn-cs"/>
                        </a:rPr>
                        <a:t>Gain de visibilité</a:t>
                      </a:r>
                      <a:endParaRPr lang="fr-FR" sz="600" b="1" i="0" kern="1200" dirty="0">
                        <a:solidFill>
                          <a:schemeClr val="tx1"/>
                        </a:solidFill>
                        <a:effectLst/>
                        <a:latin typeface="+mn-lt"/>
                        <a:ea typeface="+mn-ea"/>
                        <a:cs typeface="+mn-cs"/>
                      </a:endParaRPr>
                    </a:p>
                    <a:p>
                      <a:endParaRPr lang="fr-FR" sz="300" dirty="0"/>
                    </a:p>
                    <a:p>
                      <a:pPr marL="171450" indent="-171450">
                        <a:buFont typeface="Arial" panose="020B0604020202020204" pitchFamily="34" charset="0"/>
                        <a:buChar char="•"/>
                      </a:pPr>
                      <a:r>
                        <a:rPr lang="fr-FR" sz="1000" b="1" i="0" kern="1200" dirty="0">
                          <a:solidFill>
                            <a:schemeClr val="tx1"/>
                          </a:solidFill>
                          <a:effectLst/>
                          <a:latin typeface="+mn-lt"/>
                          <a:ea typeface="+mn-ea"/>
                          <a:cs typeface="+mn-cs"/>
                        </a:rPr>
                        <a:t>Statistiques et rapports personnalisés</a:t>
                      </a:r>
                      <a:endParaRPr lang="fr-FR" sz="100" dirty="0"/>
                    </a:p>
                  </a:txBody>
                  <a:tcPr marL="91425" marR="91425" marT="91425" marB="91425">
                    <a:lnL w="28575" cap="flat" cmpd="sng">
                      <a:solidFill>
                        <a:srgbClr val="D9D9D9"/>
                      </a:solidFill>
                      <a:prstDash val="solid"/>
                      <a:round/>
                      <a:headEnd type="none" w="sm" len="sm"/>
                      <a:tailEnd type="none" w="sm" len="sm"/>
                    </a:lnL>
                    <a:lnR w="28575" cap="flat" cmpd="sng">
                      <a:solidFill>
                        <a:srgbClr val="D9D9D9"/>
                      </a:solidFill>
                      <a:prstDash val="solid"/>
                      <a:round/>
                      <a:headEnd type="none" w="sm" len="sm"/>
                      <a:tailEnd type="none" w="sm" len="sm"/>
                    </a:lnR>
                    <a:lnT w="28575" cap="flat" cmpd="sng">
                      <a:solidFill>
                        <a:srgbClr val="D9D9D9"/>
                      </a:solidFill>
                      <a:prstDash val="solid"/>
                      <a:round/>
                      <a:headEnd type="none" w="sm" len="sm"/>
                      <a:tailEnd type="none" w="sm" len="sm"/>
                    </a:lnT>
                    <a:lnB w="28575" cap="flat" cmpd="sng">
                      <a:solidFill>
                        <a:srgbClr val="D9D9D9"/>
                      </a:solidFill>
                      <a:prstDash val="solid"/>
                      <a:round/>
                      <a:headEnd type="none" w="sm" len="sm"/>
                      <a:tailEnd type="none" w="sm" len="sm"/>
                    </a:lnB>
                  </a:tcPr>
                </a:tc>
                <a:tc rowSpan="2" hMerge="1">
                  <a:txBody>
                    <a:bodyPr/>
                    <a:lstStyle/>
                    <a:p>
                      <a:endParaRPr lang="fr-FR"/>
                    </a:p>
                  </a:txBody>
                  <a:tcPr/>
                </a:tc>
                <a:tc>
                  <a:txBody>
                    <a:bodyPr/>
                    <a:lstStyle/>
                    <a:p>
                      <a:pPr marL="0" lvl="0" indent="0" algn="l" rtl="0">
                        <a:lnSpc>
                          <a:spcPct val="100000"/>
                        </a:lnSpc>
                        <a:spcBef>
                          <a:spcPts val="0"/>
                        </a:spcBef>
                        <a:spcAft>
                          <a:spcPts val="0"/>
                        </a:spcAft>
                        <a:buNone/>
                      </a:pPr>
                      <a:r>
                        <a:rPr lang="fr-FR" sz="1050" b="1" i="0" kern="1200" dirty="0">
                          <a:solidFill>
                            <a:schemeClr val="tx1"/>
                          </a:solidFill>
                          <a:effectLst/>
                          <a:latin typeface="+mn-lt"/>
                          <a:ea typeface="+mn-ea"/>
                          <a:cs typeface="+mn-cs"/>
                        </a:rPr>
                        <a:t>Relations client </a:t>
                      </a:r>
                    </a:p>
                    <a:p>
                      <a:pPr marL="0" lvl="0" indent="0" algn="l" rtl="0">
                        <a:lnSpc>
                          <a:spcPct val="100000"/>
                        </a:lnSpc>
                        <a:spcBef>
                          <a:spcPts val="0"/>
                        </a:spcBef>
                        <a:spcAft>
                          <a:spcPts val="0"/>
                        </a:spcAft>
                        <a:buNone/>
                      </a:pPr>
                      <a:endParaRPr lang="fr-FR" sz="1050" b="1" i="0" kern="1200" dirty="0">
                        <a:solidFill>
                          <a:schemeClr val="tx1"/>
                        </a:solidFill>
                        <a:effectLst/>
                        <a:latin typeface="+mn-lt"/>
                        <a:ea typeface="+mn-ea"/>
                        <a:cs typeface="+mn-cs"/>
                        <a:sym typeface="Nunito"/>
                      </a:endParaRPr>
                    </a:p>
                    <a:p>
                      <a:pPr marL="0" lvl="0" indent="0" algn="l" rtl="0">
                        <a:lnSpc>
                          <a:spcPct val="100000"/>
                        </a:lnSpc>
                        <a:spcBef>
                          <a:spcPts val="0"/>
                        </a:spcBef>
                        <a:spcAft>
                          <a:spcPts val="0"/>
                        </a:spcAft>
                        <a:buNone/>
                      </a:pPr>
                      <a:endParaRPr sz="100" dirty="0">
                        <a:solidFill>
                          <a:schemeClr val="dk1"/>
                        </a:solidFill>
                        <a:latin typeface="Nunito"/>
                        <a:ea typeface="Nunito"/>
                        <a:cs typeface="Nunito"/>
                        <a:sym typeface="Nunito"/>
                      </a:endParaRPr>
                    </a:p>
                    <a:p>
                      <a:pPr marL="171450" indent="-171450">
                        <a:buFont typeface="Arial" panose="020B0604020202020204" pitchFamily="34" charset="0"/>
                        <a:buChar char="•"/>
                      </a:pPr>
                      <a:r>
                        <a:rPr lang="fr-FR" sz="900" b="1" i="0" kern="1200" dirty="0">
                          <a:solidFill>
                            <a:schemeClr val="tx1"/>
                          </a:solidFill>
                          <a:effectLst/>
                          <a:latin typeface="+mn-lt"/>
                          <a:ea typeface="+mn-ea"/>
                          <a:cs typeface="+mn-cs"/>
                        </a:rPr>
                        <a:t>Support client multicanal (chat en ligne, e-mail)</a:t>
                      </a:r>
                      <a:endParaRPr lang="fr-FR" sz="100" dirty="0"/>
                    </a:p>
                    <a:p>
                      <a:pPr marL="171450" indent="-171450">
                        <a:buFont typeface="Arial" panose="020B0604020202020204" pitchFamily="34" charset="0"/>
                        <a:buChar char="•"/>
                      </a:pPr>
                      <a:r>
                        <a:rPr lang="fr-FR" sz="900" b="1" i="0" kern="1200" dirty="0">
                          <a:solidFill>
                            <a:schemeClr val="tx1"/>
                          </a:solidFill>
                          <a:effectLst/>
                          <a:latin typeface="+mn-lt"/>
                          <a:ea typeface="+mn-ea"/>
                          <a:cs typeface="+mn-cs"/>
                        </a:rPr>
                        <a:t>Notifications et rappels de réservation</a:t>
                      </a:r>
                      <a:endParaRPr lang="fr-FR" sz="100" dirty="0"/>
                    </a:p>
                    <a:p>
                      <a:pPr marL="171450" indent="-171450">
                        <a:buFont typeface="Arial" panose="020B0604020202020204" pitchFamily="34" charset="0"/>
                        <a:buChar char="•"/>
                      </a:pPr>
                      <a:r>
                        <a:rPr lang="fr-FR" sz="900" b="1" i="0" kern="1200" dirty="0">
                          <a:solidFill>
                            <a:schemeClr val="tx1"/>
                          </a:solidFill>
                          <a:effectLst/>
                          <a:latin typeface="+mn-lt"/>
                          <a:ea typeface="+mn-ea"/>
                          <a:cs typeface="+mn-cs"/>
                        </a:rPr>
                        <a:t>Système de notation et d’avis</a:t>
                      </a:r>
                      <a:endParaRPr lang="fr-FR" sz="100" dirty="0"/>
                    </a:p>
                    <a:p>
                      <a:pPr marL="171450" indent="-171450">
                        <a:buFont typeface="Arial" panose="020B0604020202020204" pitchFamily="34" charset="0"/>
                        <a:buChar char="•"/>
                      </a:pPr>
                      <a:r>
                        <a:rPr lang="fr-FR" sz="900" b="1" i="0" kern="1200" dirty="0">
                          <a:solidFill>
                            <a:schemeClr val="tx1"/>
                          </a:solidFill>
                          <a:effectLst/>
                          <a:latin typeface="+mn-lt"/>
                          <a:ea typeface="+mn-ea"/>
                          <a:cs typeface="+mn-cs"/>
                        </a:rPr>
                        <a:t>Fidélisation : réductions, offres spéciales</a:t>
                      </a:r>
                      <a:endParaRPr lang="fr-FR" sz="100" dirty="0"/>
                    </a:p>
                    <a:p>
                      <a:pPr marL="0" lvl="0" indent="0" algn="l" rtl="0">
                        <a:spcBef>
                          <a:spcPts val="0"/>
                        </a:spcBef>
                        <a:spcAft>
                          <a:spcPts val="0"/>
                        </a:spcAft>
                        <a:buNone/>
                      </a:pPr>
                      <a:endParaRPr sz="500" dirty="0">
                        <a:solidFill>
                          <a:schemeClr val="dk1"/>
                        </a:solidFill>
                        <a:latin typeface="Nunito"/>
                        <a:ea typeface="Nunito"/>
                        <a:cs typeface="Nunito"/>
                        <a:sym typeface="Nunito"/>
                      </a:endParaRPr>
                    </a:p>
                  </a:txBody>
                  <a:tcPr marL="91425" marR="91425" marT="91425" marB="91425">
                    <a:lnL w="28575" cap="flat" cmpd="sng">
                      <a:solidFill>
                        <a:srgbClr val="D9D9D9"/>
                      </a:solidFill>
                      <a:prstDash val="solid"/>
                      <a:round/>
                      <a:headEnd type="none" w="sm" len="sm"/>
                      <a:tailEnd type="none" w="sm" len="sm"/>
                    </a:lnL>
                    <a:lnR w="28575" cap="flat" cmpd="sng">
                      <a:solidFill>
                        <a:srgbClr val="D9D9D9"/>
                      </a:solidFill>
                      <a:prstDash val="solid"/>
                      <a:round/>
                      <a:headEnd type="none" w="sm" len="sm"/>
                      <a:tailEnd type="none" w="sm" len="sm"/>
                    </a:lnR>
                    <a:lnT w="28575" cap="flat" cmpd="sng">
                      <a:solidFill>
                        <a:srgbClr val="D9D9D9"/>
                      </a:solidFill>
                      <a:prstDash val="solid"/>
                      <a:round/>
                      <a:headEnd type="none" w="sm" len="sm"/>
                      <a:tailEnd type="none" w="sm" len="sm"/>
                    </a:lnT>
                    <a:lnB w="28575" cap="flat" cmpd="sng">
                      <a:solidFill>
                        <a:srgbClr val="D9D9D9"/>
                      </a:solidFill>
                      <a:prstDash val="solid"/>
                      <a:round/>
                      <a:headEnd type="none" w="sm" len="sm"/>
                      <a:tailEnd type="none" w="sm" len="sm"/>
                    </a:lnB>
                  </a:tcPr>
                </a:tc>
                <a:tc rowSpan="2">
                  <a:txBody>
                    <a:bodyPr/>
                    <a:lstStyle/>
                    <a:p>
                      <a:pPr marL="0" lvl="0" indent="0" algn="l" rtl="0">
                        <a:lnSpc>
                          <a:spcPct val="100000"/>
                        </a:lnSpc>
                        <a:spcBef>
                          <a:spcPts val="0"/>
                        </a:spcBef>
                        <a:spcAft>
                          <a:spcPts val="0"/>
                        </a:spcAft>
                        <a:buNone/>
                      </a:pPr>
                      <a:r>
                        <a:rPr lang="fr-FR" sz="1050" b="1" i="0" kern="1200" dirty="0">
                          <a:solidFill>
                            <a:schemeClr val="tx1"/>
                          </a:solidFill>
                          <a:effectLst/>
                          <a:latin typeface="+mn-lt"/>
                          <a:ea typeface="+mn-ea"/>
                          <a:cs typeface="+mn-cs"/>
                        </a:rPr>
                        <a:t>Segments de clientèle</a:t>
                      </a:r>
                    </a:p>
                    <a:p>
                      <a:pPr marL="0" lvl="0" indent="0" algn="l" rtl="0">
                        <a:lnSpc>
                          <a:spcPct val="100000"/>
                        </a:lnSpc>
                        <a:spcBef>
                          <a:spcPts val="0"/>
                        </a:spcBef>
                        <a:spcAft>
                          <a:spcPts val="0"/>
                        </a:spcAft>
                        <a:buNone/>
                      </a:pPr>
                      <a:endParaRPr lang="fr-FR" sz="1050" b="1" i="0" kern="1200" dirty="0">
                        <a:solidFill>
                          <a:schemeClr val="tx1"/>
                        </a:solidFill>
                        <a:effectLst/>
                        <a:latin typeface="+mn-lt"/>
                        <a:ea typeface="+mn-ea"/>
                        <a:cs typeface="+mn-cs"/>
                      </a:endParaRPr>
                    </a:p>
                    <a:p>
                      <a:pPr marL="0" lvl="0" indent="0" algn="l" rtl="0">
                        <a:lnSpc>
                          <a:spcPct val="100000"/>
                        </a:lnSpc>
                        <a:spcBef>
                          <a:spcPts val="0"/>
                        </a:spcBef>
                        <a:spcAft>
                          <a:spcPts val="0"/>
                        </a:spcAft>
                        <a:buNone/>
                      </a:pPr>
                      <a:endParaRPr sz="500" dirty="0">
                        <a:solidFill>
                          <a:schemeClr val="dk1"/>
                        </a:solidFill>
                        <a:latin typeface="Nunito"/>
                        <a:ea typeface="Nunito"/>
                        <a:cs typeface="Nunito"/>
                        <a:sym typeface="Nunito"/>
                      </a:endParaRPr>
                    </a:p>
                    <a:p>
                      <a:r>
                        <a:rPr lang="fr-FR" sz="1100" b="1" i="0" kern="1200" dirty="0">
                          <a:solidFill>
                            <a:schemeClr val="tx1"/>
                          </a:solidFill>
                          <a:effectLst/>
                          <a:latin typeface="+mn-lt"/>
                          <a:ea typeface="+mn-ea"/>
                          <a:cs typeface="+mn-cs"/>
                        </a:rPr>
                        <a:t>B2C:</a:t>
                      </a:r>
                    </a:p>
                    <a:p>
                      <a:pPr marL="285750" indent="-285750">
                        <a:buFont typeface="Arial" panose="020B0604020202020204" pitchFamily="34" charset="0"/>
                        <a:buChar char="•"/>
                      </a:pPr>
                      <a:r>
                        <a:rPr lang="fr-FR" sz="1100" b="1" i="0" kern="1200" dirty="0">
                          <a:solidFill>
                            <a:schemeClr val="tx1"/>
                          </a:solidFill>
                          <a:effectLst/>
                          <a:latin typeface="+mn-lt"/>
                          <a:ea typeface="+mn-ea"/>
                          <a:cs typeface="+mn-cs"/>
                        </a:rPr>
                        <a:t>Vacanciers tunisiens (familles, groupes d’amis, couples)</a:t>
                      </a:r>
                      <a:endParaRPr lang="fr-FR" sz="400" dirty="0"/>
                    </a:p>
                    <a:p>
                      <a:pPr marL="285750" indent="-285750">
                        <a:buFont typeface="Arial" panose="020B0604020202020204" pitchFamily="34" charset="0"/>
                        <a:buChar char="•"/>
                      </a:pPr>
                      <a:r>
                        <a:rPr lang="fr-FR" sz="1100" b="1" i="0" kern="1200" dirty="0">
                          <a:solidFill>
                            <a:schemeClr val="tx1"/>
                          </a:solidFill>
                          <a:effectLst/>
                          <a:latin typeface="+mn-lt"/>
                          <a:ea typeface="+mn-ea"/>
                          <a:cs typeface="+mn-cs"/>
                        </a:rPr>
                        <a:t>Touristes étrangers</a:t>
                      </a:r>
                      <a:endParaRPr lang="fr-FR" sz="400" dirty="0"/>
                    </a:p>
                    <a:p>
                      <a:pPr marL="285750" indent="-285750">
                        <a:buFont typeface="Arial" panose="020B0604020202020204" pitchFamily="34" charset="0"/>
                        <a:buChar char="•"/>
                      </a:pPr>
                      <a:r>
                        <a:rPr lang="fr-FR" sz="1100" b="1" i="0" kern="1200" dirty="0">
                          <a:solidFill>
                            <a:schemeClr val="tx1"/>
                          </a:solidFill>
                          <a:effectLst/>
                          <a:latin typeface="+mn-lt"/>
                          <a:ea typeface="+mn-ea"/>
                          <a:cs typeface="+mn-cs"/>
                        </a:rPr>
                        <a:t>Tunisiens résidant à l’étranger</a:t>
                      </a:r>
                      <a:endParaRPr lang="fr-FR" sz="400" dirty="0"/>
                    </a:p>
                    <a:p>
                      <a:r>
                        <a:rPr lang="fr-FR" sz="1100" b="1" i="0" kern="1200" dirty="0">
                          <a:solidFill>
                            <a:schemeClr val="tx1"/>
                          </a:solidFill>
                          <a:effectLst/>
                          <a:latin typeface="+mn-lt"/>
                          <a:ea typeface="+mn-ea"/>
                          <a:cs typeface="+mn-cs"/>
                        </a:rPr>
                        <a:t>B2B:</a:t>
                      </a:r>
                      <a:endParaRPr lang="fr-FR" sz="1100" kern="1200" dirty="0">
                        <a:solidFill>
                          <a:schemeClr val="tx1"/>
                        </a:solidFill>
                        <a:effectLst/>
                        <a:latin typeface="+mn-lt"/>
                        <a:ea typeface="+mn-ea"/>
                        <a:cs typeface="+mn-cs"/>
                      </a:endParaRPr>
                    </a:p>
                    <a:p>
                      <a:pPr marL="285750" indent="-285750">
                        <a:buFont typeface="Arial" panose="020B0604020202020204" pitchFamily="34" charset="0"/>
                        <a:buChar char="•"/>
                      </a:pPr>
                      <a:r>
                        <a:rPr lang="fr-FR" sz="1100" b="1" i="0" kern="1200" dirty="0">
                          <a:solidFill>
                            <a:schemeClr val="tx1"/>
                          </a:solidFill>
                          <a:effectLst/>
                          <a:latin typeface="+mn-lt"/>
                          <a:ea typeface="+mn-ea"/>
                          <a:cs typeface="+mn-cs"/>
                        </a:rPr>
                        <a:t>Prestataires de cabines</a:t>
                      </a:r>
                      <a:endParaRPr lang="fr-FR" sz="400" dirty="0"/>
                    </a:p>
                    <a:p>
                      <a:pPr marL="285750" indent="-285750">
                        <a:buFont typeface="Arial" panose="020B0604020202020204" pitchFamily="34" charset="0"/>
                        <a:buChar char="•"/>
                      </a:pPr>
                      <a:r>
                        <a:rPr lang="fr-FR" sz="1100" b="1" i="0" kern="1200" dirty="0">
                          <a:solidFill>
                            <a:schemeClr val="tx1"/>
                          </a:solidFill>
                          <a:effectLst/>
                          <a:latin typeface="+mn-lt"/>
                          <a:ea typeface="+mn-ea"/>
                          <a:cs typeface="+mn-cs"/>
                        </a:rPr>
                        <a:t>Prestataires d’activités</a:t>
                      </a:r>
                      <a:endParaRPr lang="fr-FR" sz="400" dirty="0"/>
                    </a:p>
                    <a:p>
                      <a:r>
                        <a:rPr lang="fr-FR" sz="1100" b="1" i="0" kern="1200" dirty="0">
                          <a:solidFill>
                            <a:schemeClr val="tx1"/>
                          </a:solidFill>
                          <a:effectLst/>
                          <a:latin typeface="+mn-lt"/>
                          <a:ea typeface="+mn-ea"/>
                          <a:cs typeface="+mn-cs"/>
                        </a:rPr>
                        <a:t>nautiques</a:t>
                      </a:r>
                      <a:endParaRPr lang="fr-FR" sz="1100" kern="1200" dirty="0">
                        <a:solidFill>
                          <a:schemeClr val="tx1"/>
                        </a:solidFill>
                        <a:effectLst/>
                        <a:latin typeface="+mn-lt"/>
                        <a:ea typeface="+mn-ea"/>
                        <a:cs typeface="+mn-cs"/>
                      </a:endParaRPr>
                    </a:p>
                  </a:txBody>
                  <a:tcPr marL="91425" marR="91425" marT="91425" marB="91425">
                    <a:lnL w="28575" cap="flat" cmpd="sng">
                      <a:solidFill>
                        <a:srgbClr val="D9D9D9"/>
                      </a:solidFill>
                      <a:prstDash val="solid"/>
                      <a:round/>
                      <a:headEnd type="none" w="sm" len="sm"/>
                      <a:tailEnd type="none" w="sm" len="sm"/>
                    </a:lnL>
                    <a:lnR w="28575" cap="flat" cmpd="sng">
                      <a:solidFill>
                        <a:srgbClr val="D9D9D9">
                          <a:alpha val="0"/>
                        </a:srgbClr>
                      </a:solidFill>
                      <a:prstDash val="solid"/>
                      <a:round/>
                      <a:headEnd type="none" w="sm" len="sm"/>
                      <a:tailEnd type="none" w="sm" len="sm"/>
                    </a:lnR>
                    <a:lnT w="28575" cap="flat" cmpd="sng">
                      <a:solidFill>
                        <a:srgbClr val="D9D9D9">
                          <a:alpha val="0"/>
                        </a:srgbClr>
                      </a:solidFill>
                      <a:prstDash val="solid"/>
                      <a:round/>
                      <a:headEnd type="none" w="sm" len="sm"/>
                      <a:tailEnd type="none" w="sm" len="sm"/>
                    </a:lnT>
                    <a:lnB w="28575" cap="flat" cmpd="sng">
                      <a:solidFill>
                        <a:srgbClr val="D9D9D9"/>
                      </a:solidFill>
                      <a:prstDash val="solid"/>
                      <a:round/>
                      <a:headEnd type="none" w="sm" len="sm"/>
                      <a:tailEnd type="none" w="sm" len="sm"/>
                    </a:lnB>
                  </a:tcPr>
                </a:tc>
                <a:extLst>
                  <a:ext uri="{0D108BD9-81ED-4DB2-BD59-A6C34878D82A}">
                    <a16:rowId xmlns:a16="http://schemas.microsoft.com/office/drawing/2014/main" val="10000"/>
                  </a:ext>
                </a:extLst>
              </a:tr>
              <a:tr h="1707487">
                <a:tc vMerge="1">
                  <a:txBody>
                    <a:bodyPr/>
                    <a:lstStyle/>
                    <a:p>
                      <a:endParaRPr lang="fr-FR"/>
                    </a:p>
                  </a:txBody>
                  <a:tcPr/>
                </a:tc>
                <a:tc>
                  <a:txBody>
                    <a:bodyPr/>
                    <a:lstStyle/>
                    <a:p>
                      <a:pPr marL="0" lvl="0" indent="0" algn="l" rtl="0">
                        <a:lnSpc>
                          <a:spcPct val="150000"/>
                        </a:lnSpc>
                        <a:spcBef>
                          <a:spcPts val="0"/>
                        </a:spcBef>
                        <a:spcAft>
                          <a:spcPts val="0"/>
                        </a:spcAft>
                        <a:buNone/>
                      </a:pPr>
                      <a:r>
                        <a:rPr lang="fr-FR" sz="1000" b="1" i="0" kern="1200" dirty="0">
                          <a:solidFill>
                            <a:schemeClr val="tx1"/>
                          </a:solidFill>
                          <a:effectLst/>
                          <a:latin typeface="+mn-lt"/>
                          <a:ea typeface="+mn-ea"/>
                          <a:cs typeface="+mn-cs"/>
                        </a:rPr>
                        <a:t>Ressources clés</a:t>
                      </a:r>
                    </a:p>
                    <a:p>
                      <a:pPr marL="171450" indent="-171450">
                        <a:buFont typeface="Arial" panose="020B0604020202020204" pitchFamily="34" charset="0"/>
                        <a:buChar char="•"/>
                      </a:pPr>
                      <a:r>
                        <a:rPr lang="fr-FR" sz="1050" b="1" i="0" kern="1200" dirty="0">
                          <a:solidFill>
                            <a:schemeClr val="tx1"/>
                          </a:solidFill>
                          <a:effectLst/>
                          <a:latin typeface="+mn-lt"/>
                          <a:ea typeface="+mn-ea"/>
                          <a:cs typeface="+mn-cs"/>
                        </a:rPr>
                        <a:t>Plateforme web/mobile</a:t>
                      </a:r>
                      <a:endParaRPr lang="fr-FR" sz="300" dirty="0"/>
                    </a:p>
                    <a:p>
                      <a:pPr marL="171450" indent="-171450">
                        <a:buFont typeface="Arial" panose="020B0604020202020204" pitchFamily="34" charset="0"/>
                        <a:buChar char="•"/>
                      </a:pPr>
                      <a:r>
                        <a:rPr lang="fr-FR" sz="1050" b="1" i="0" kern="1200" dirty="0">
                          <a:solidFill>
                            <a:schemeClr val="tx1"/>
                          </a:solidFill>
                          <a:effectLst/>
                          <a:latin typeface="+mn-lt"/>
                          <a:ea typeface="+mn-ea"/>
                          <a:cs typeface="+mn-cs"/>
                        </a:rPr>
                        <a:t>Système de paiement en ligne</a:t>
                      </a:r>
                      <a:endParaRPr lang="fr-FR" sz="300" dirty="0"/>
                    </a:p>
                    <a:p>
                      <a:pPr marL="171450" indent="-171450">
                        <a:buFont typeface="Arial" panose="020B0604020202020204" pitchFamily="34" charset="0"/>
                        <a:buChar char="•"/>
                      </a:pPr>
                      <a:r>
                        <a:rPr lang="fr-FR" sz="1050" b="1" i="0" kern="1200" dirty="0">
                          <a:solidFill>
                            <a:schemeClr val="tx1"/>
                          </a:solidFill>
                          <a:effectLst/>
                          <a:latin typeface="+mn-lt"/>
                          <a:ea typeface="+mn-ea"/>
                          <a:cs typeface="+mn-cs"/>
                        </a:rPr>
                        <a:t>Équipe projet (développeurs, support, marketing)</a:t>
                      </a:r>
                      <a:endParaRPr lang="fr-FR" sz="300" dirty="0"/>
                    </a:p>
                  </a:txBody>
                  <a:tcPr marL="91425" marR="91425" marT="91425" marB="91425">
                    <a:lnL w="28575" cap="flat" cmpd="sng" algn="ctr">
                      <a:solidFill>
                        <a:srgbClr val="D9D9D9"/>
                      </a:solidFill>
                      <a:prstDash val="solid"/>
                      <a:round/>
                      <a:headEnd type="none" w="sm" len="sm"/>
                      <a:tailEnd type="none" w="sm" len="sm"/>
                    </a:lnL>
                    <a:lnR w="28575" cap="flat" cmpd="sng" algn="ctr">
                      <a:solidFill>
                        <a:srgbClr val="D9D9D9"/>
                      </a:solidFill>
                      <a:prstDash val="solid"/>
                      <a:round/>
                      <a:headEnd type="none" w="sm" len="sm"/>
                      <a:tailEnd type="none" w="sm" len="sm"/>
                    </a:lnR>
                    <a:lnT w="28575" cap="flat" cmpd="sng" algn="ctr">
                      <a:solidFill>
                        <a:srgbClr val="D9D9D9"/>
                      </a:solidFill>
                      <a:prstDash val="solid"/>
                      <a:round/>
                      <a:headEnd type="none" w="sm" len="sm"/>
                      <a:tailEnd type="none" w="sm" len="sm"/>
                    </a:lnT>
                    <a:lnB w="28575" cap="flat" cmpd="sng" algn="ctr">
                      <a:solidFill>
                        <a:srgbClr val="D9D9D9"/>
                      </a:solidFill>
                      <a:prstDash val="solid"/>
                      <a:round/>
                      <a:headEnd type="none" w="sm" len="sm"/>
                      <a:tailEnd type="none" w="sm" len="sm"/>
                    </a:lnB>
                  </a:tcPr>
                </a:tc>
                <a:tc gridSpan="2" vMerge="1">
                  <a:txBody>
                    <a:bodyPr/>
                    <a:lstStyle/>
                    <a:p>
                      <a:endParaRPr lang="fr-FR"/>
                    </a:p>
                  </a:txBody>
                  <a:tcPr/>
                </a:tc>
                <a:tc hMerge="1" vMerge="1">
                  <a:txBody>
                    <a:bodyPr/>
                    <a:lstStyle/>
                    <a:p>
                      <a:endParaRPr lang="fr-FR"/>
                    </a:p>
                  </a:txBody>
                  <a:tcPr/>
                </a:tc>
                <a:tc>
                  <a:txBody>
                    <a:bodyPr/>
                    <a:lstStyle/>
                    <a:p>
                      <a:pPr marL="0" lvl="0" indent="0" algn="l" rtl="0">
                        <a:lnSpc>
                          <a:spcPct val="150000"/>
                        </a:lnSpc>
                        <a:spcBef>
                          <a:spcPts val="0"/>
                        </a:spcBef>
                        <a:spcAft>
                          <a:spcPts val="0"/>
                        </a:spcAft>
                        <a:buNone/>
                      </a:pPr>
                      <a:r>
                        <a:rPr lang="fr-FR" sz="1050" b="1" i="0" kern="1200" dirty="0">
                          <a:solidFill>
                            <a:schemeClr val="tx1"/>
                          </a:solidFill>
                          <a:effectLst/>
                          <a:latin typeface="+mn-lt"/>
                          <a:ea typeface="+mn-ea"/>
                          <a:cs typeface="+mn-cs"/>
                        </a:rPr>
                        <a:t>Canaux</a:t>
                      </a:r>
                    </a:p>
                    <a:p>
                      <a:pPr marL="285750" indent="-285750">
                        <a:buFont typeface="Arial" panose="020B0604020202020204" pitchFamily="34" charset="0"/>
                        <a:buChar char="•"/>
                      </a:pPr>
                      <a:r>
                        <a:rPr lang="fr-FR" sz="1000" b="1" i="0" kern="1200" dirty="0">
                          <a:solidFill>
                            <a:schemeClr val="tx1"/>
                          </a:solidFill>
                          <a:effectLst/>
                          <a:latin typeface="+mn-lt"/>
                          <a:ea typeface="+mn-ea"/>
                          <a:cs typeface="+mn-cs"/>
                        </a:rPr>
                        <a:t>Site web et application mobile</a:t>
                      </a:r>
                      <a:endParaRPr lang="fr-FR" sz="200" dirty="0"/>
                    </a:p>
                    <a:p>
                      <a:pPr marL="285750" indent="-285750">
                        <a:buFont typeface="Arial" panose="020B0604020202020204" pitchFamily="34" charset="0"/>
                        <a:buChar char="•"/>
                      </a:pPr>
                      <a:r>
                        <a:rPr lang="fr-FR" sz="1000" b="1" i="0" kern="1200" dirty="0">
                          <a:solidFill>
                            <a:schemeClr val="tx1"/>
                          </a:solidFill>
                          <a:effectLst/>
                          <a:latin typeface="+mn-lt"/>
                          <a:ea typeface="+mn-ea"/>
                          <a:cs typeface="+mn-cs"/>
                        </a:rPr>
                        <a:t>Réseaux sociaux (Facebook, Instagram, </a:t>
                      </a:r>
                      <a:r>
                        <a:rPr lang="fr-FR" sz="1000" b="1" i="0" kern="1200" dirty="0" err="1">
                          <a:solidFill>
                            <a:schemeClr val="tx1"/>
                          </a:solidFill>
                          <a:effectLst/>
                          <a:latin typeface="+mn-lt"/>
                          <a:ea typeface="+mn-ea"/>
                          <a:cs typeface="+mn-cs"/>
                        </a:rPr>
                        <a:t>TikTok</a:t>
                      </a:r>
                      <a:r>
                        <a:rPr lang="fr-FR" sz="1000" b="1" i="0" kern="1200" dirty="0">
                          <a:solidFill>
                            <a:schemeClr val="tx1"/>
                          </a:solidFill>
                          <a:effectLst/>
                          <a:latin typeface="+mn-lt"/>
                          <a:ea typeface="+mn-ea"/>
                          <a:cs typeface="+mn-cs"/>
                        </a:rPr>
                        <a:t>)</a:t>
                      </a:r>
                      <a:endParaRPr lang="fr-FR" sz="200" dirty="0"/>
                    </a:p>
                    <a:p>
                      <a:pPr marL="285750" indent="-285750">
                        <a:buFont typeface="Arial" panose="020B0604020202020204" pitchFamily="34" charset="0"/>
                        <a:buChar char="•"/>
                      </a:pPr>
                      <a:r>
                        <a:rPr lang="fr-FR" sz="1000" b="1" i="0" kern="1200" dirty="0">
                          <a:solidFill>
                            <a:schemeClr val="tx1"/>
                          </a:solidFill>
                          <a:effectLst/>
                          <a:latin typeface="+mn-lt"/>
                          <a:ea typeface="+mn-ea"/>
                          <a:cs typeface="+mn-cs"/>
                        </a:rPr>
                        <a:t>Google </a:t>
                      </a:r>
                      <a:r>
                        <a:rPr lang="fr-FR" sz="1000" b="1" i="0" kern="1200" dirty="0" err="1">
                          <a:solidFill>
                            <a:schemeClr val="tx1"/>
                          </a:solidFill>
                          <a:effectLst/>
                          <a:latin typeface="+mn-lt"/>
                          <a:ea typeface="+mn-ea"/>
                          <a:cs typeface="+mn-cs"/>
                        </a:rPr>
                        <a:t>Ads</a:t>
                      </a:r>
                      <a:endParaRPr lang="fr-FR" sz="200" dirty="0"/>
                    </a:p>
                  </a:txBody>
                  <a:tcPr marL="91425" marR="91425" marT="91425" marB="91425">
                    <a:lnL w="28575" cap="flat" cmpd="sng" algn="ctr">
                      <a:solidFill>
                        <a:srgbClr val="D9D9D9"/>
                      </a:solidFill>
                      <a:prstDash val="solid"/>
                      <a:round/>
                      <a:headEnd type="none" w="sm" len="sm"/>
                      <a:tailEnd type="none" w="sm" len="sm"/>
                    </a:lnL>
                    <a:lnR w="28575" cap="flat" cmpd="sng" algn="ctr">
                      <a:solidFill>
                        <a:srgbClr val="D9D9D9"/>
                      </a:solidFill>
                      <a:prstDash val="solid"/>
                      <a:round/>
                      <a:headEnd type="none" w="sm" len="sm"/>
                      <a:tailEnd type="none" w="sm" len="sm"/>
                    </a:lnR>
                    <a:lnT w="28575" cap="flat" cmpd="sng" algn="ctr">
                      <a:solidFill>
                        <a:srgbClr val="D9D9D9"/>
                      </a:solidFill>
                      <a:prstDash val="solid"/>
                      <a:round/>
                      <a:headEnd type="none" w="sm" len="sm"/>
                      <a:tailEnd type="none" w="sm" len="sm"/>
                    </a:lnT>
                    <a:lnB w="28575" cap="flat" cmpd="sng">
                      <a:solidFill>
                        <a:srgbClr val="D9D9D9"/>
                      </a:solidFill>
                      <a:prstDash val="solid"/>
                      <a:round/>
                      <a:headEnd type="none" w="sm" len="sm"/>
                      <a:tailEnd type="none" w="sm" len="sm"/>
                    </a:lnB>
                  </a:tcPr>
                </a:tc>
                <a:tc vMerge="1">
                  <a:txBody>
                    <a:bodyPr/>
                    <a:lstStyle/>
                    <a:p>
                      <a:endParaRPr lang="fr-FR"/>
                    </a:p>
                  </a:txBody>
                  <a:tcPr/>
                </a:tc>
                <a:extLst>
                  <a:ext uri="{0D108BD9-81ED-4DB2-BD59-A6C34878D82A}">
                    <a16:rowId xmlns:a16="http://schemas.microsoft.com/office/drawing/2014/main" val="10003"/>
                  </a:ext>
                </a:extLst>
              </a:tr>
              <a:tr h="1063178">
                <a:tc gridSpan="3">
                  <a:txBody>
                    <a:bodyPr/>
                    <a:lstStyle/>
                    <a:p>
                      <a:pPr marL="0" lvl="0" indent="0" algn="l" rtl="0">
                        <a:lnSpc>
                          <a:spcPct val="150000"/>
                        </a:lnSpc>
                        <a:spcBef>
                          <a:spcPts val="0"/>
                        </a:spcBef>
                        <a:spcAft>
                          <a:spcPts val="0"/>
                        </a:spcAft>
                        <a:buFont typeface="Arial" panose="020B0604020202020204" pitchFamily="34" charset="0"/>
                        <a:buNone/>
                      </a:pPr>
                      <a:r>
                        <a:rPr lang="fr-FR" sz="900" b="1" i="0" kern="1200" dirty="0">
                          <a:solidFill>
                            <a:schemeClr val="tx1"/>
                          </a:solidFill>
                          <a:effectLst/>
                          <a:latin typeface="+mn-lt"/>
                          <a:ea typeface="+mn-ea"/>
                          <a:cs typeface="+mn-cs"/>
                        </a:rPr>
                        <a:t>Structure des coûts</a:t>
                      </a:r>
                    </a:p>
                    <a:p>
                      <a:pPr marL="171450" indent="-171450">
                        <a:buFont typeface="Arial" panose="020B0604020202020204" pitchFamily="34" charset="0"/>
                        <a:buChar char="•"/>
                      </a:pPr>
                      <a:r>
                        <a:rPr lang="fr-FR" sz="900" b="1" i="0" kern="1200" dirty="0">
                          <a:solidFill>
                            <a:schemeClr val="tx1"/>
                          </a:solidFill>
                          <a:effectLst/>
                          <a:latin typeface="+mn-lt"/>
                          <a:ea typeface="+mn-ea"/>
                          <a:cs typeface="+mn-cs"/>
                        </a:rPr>
                        <a:t>Coûts de développement initial et maintenance</a:t>
                      </a:r>
                      <a:endParaRPr lang="fr-FR" sz="100" dirty="0"/>
                    </a:p>
                    <a:p>
                      <a:pPr marL="171450" indent="-171450">
                        <a:buFont typeface="Arial" panose="020B0604020202020204" pitchFamily="34" charset="0"/>
                        <a:buChar char="•"/>
                      </a:pPr>
                      <a:r>
                        <a:rPr lang="fr-FR" sz="900" b="1" i="0" kern="1200" dirty="0">
                          <a:solidFill>
                            <a:schemeClr val="tx1"/>
                          </a:solidFill>
                          <a:effectLst/>
                          <a:latin typeface="+mn-lt"/>
                          <a:ea typeface="+mn-ea"/>
                          <a:cs typeface="+mn-cs"/>
                        </a:rPr>
                        <a:t>Hébergement et infrastructure cloud</a:t>
                      </a:r>
                      <a:endParaRPr lang="fr-FR" sz="100" dirty="0"/>
                    </a:p>
                    <a:p>
                      <a:pPr marL="171450" indent="-171450">
                        <a:buFont typeface="Arial" panose="020B0604020202020204" pitchFamily="34" charset="0"/>
                        <a:buChar char="•"/>
                      </a:pPr>
                      <a:r>
                        <a:rPr lang="fr-FR" sz="900" b="1" i="0" kern="1200" dirty="0">
                          <a:solidFill>
                            <a:schemeClr val="tx1"/>
                          </a:solidFill>
                          <a:effectLst/>
                          <a:latin typeface="+mn-lt"/>
                          <a:ea typeface="+mn-ea"/>
                          <a:cs typeface="+mn-cs"/>
                        </a:rPr>
                        <a:t>Dépenses marketing (</a:t>
                      </a:r>
                      <a:r>
                        <a:rPr lang="fr-FR" sz="900" b="1" i="0" kern="1200" dirty="0" err="1">
                          <a:solidFill>
                            <a:schemeClr val="tx1"/>
                          </a:solidFill>
                          <a:effectLst/>
                          <a:latin typeface="+mn-lt"/>
                          <a:ea typeface="+mn-ea"/>
                          <a:cs typeface="+mn-cs"/>
                        </a:rPr>
                        <a:t>ads</a:t>
                      </a:r>
                      <a:r>
                        <a:rPr lang="fr-FR" sz="900" b="1" i="0" kern="1200" dirty="0">
                          <a:solidFill>
                            <a:schemeClr val="tx1"/>
                          </a:solidFill>
                          <a:effectLst/>
                          <a:latin typeface="+mn-lt"/>
                          <a:ea typeface="+mn-ea"/>
                          <a:cs typeface="+mn-cs"/>
                        </a:rPr>
                        <a:t>, réseaux sociaux)</a:t>
                      </a:r>
                      <a:endParaRPr lang="fr-FR" sz="100" dirty="0"/>
                    </a:p>
                    <a:p>
                      <a:pPr marL="171450" indent="-171450">
                        <a:buFont typeface="Arial" panose="020B0604020202020204" pitchFamily="34" charset="0"/>
                        <a:buChar char="•"/>
                      </a:pPr>
                      <a:r>
                        <a:rPr lang="fr-FR" sz="900" b="1" i="0" kern="1200" dirty="0">
                          <a:solidFill>
                            <a:schemeClr val="tx1"/>
                          </a:solidFill>
                          <a:effectLst/>
                          <a:latin typeface="+mn-lt"/>
                          <a:ea typeface="+mn-ea"/>
                          <a:cs typeface="+mn-cs"/>
                        </a:rPr>
                        <a:t>Formation et accompagnement des prestataires</a:t>
                      </a:r>
                      <a:endParaRPr lang="fr-FR" sz="100" dirty="0"/>
                    </a:p>
                    <a:p>
                      <a:pPr marL="171450" indent="-171450">
                        <a:buFont typeface="Arial" panose="020B0604020202020204" pitchFamily="34" charset="0"/>
                        <a:buChar char="•"/>
                      </a:pPr>
                      <a:r>
                        <a:rPr lang="fr-FR" sz="900" b="1" i="0" kern="1200" dirty="0">
                          <a:solidFill>
                            <a:schemeClr val="tx1"/>
                          </a:solidFill>
                          <a:effectLst/>
                          <a:latin typeface="+mn-lt"/>
                          <a:ea typeface="+mn-ea"/>
                          <a:cs typeface="+mn-cs"/>
                        </a:rPr>
                        <a:t>Salaires et frais de fonctionnement</a:t>
                      </a:r>
                      <a:endParaRPr lang="fr-FR" sz="100" dirty="0"/>
                    </a:p>
                  </a:txBody>
                  <a:tcPr marL="91425" marR="91425" marT="91425" marB="91425">
                    <a:lnL w="28575" cap="flat" cmpd="sng">
                      <a:solidFill>
                        <a:srgbClr val="D9D9D9">
                          <a:alpha val="0"/>
                        </a:srgbClr>
                      </a:solidFill>
                      <a:prstDash val="solid"/>
                      <a:round/>
                      <a:headEnd type="none" w="sm" len="sm"/>
                      <a:tailEnd type="none" w="sm" len="sm"/>
                    </a:lnL>
                    <a:lnR w="28575" cap="flat" cmpd="sng" algn="ctr">
                      <a:solidFill>
                        <a:srgbClr val="D9D9D9"/>
                      </a:solidFill>
                      <a:prstDash val="solid"/>
                      <a:round/>
                      <a:headEnd type="none" w="sm" len="sm"/>
                      <a:tailEnd type="none" w="sm" len="sm"/>
                    </a:lnR>
                    <a:lnT w="28575" cap="flat" cmpd="sng" algn="ctr">
                      <a:solidFill>
                        <a:srgbClr val="D9D9D9"/>
                      </a:solidFill>
                      <a:prstDash val="solid"/>
                      <a:round/>
                      <a:headEnd type="none" w="sm" len="sm"/>
                      <a:tailEnd type="none" w="sm" len="sm"/>
                    </a:lnT>
                    <a:lnB w="28575" cap="flat" cmpd="sng">
                      <a:solidFill>
                        <a:srgbClr val="D9D9D9">
                          <a:alpha val="0"/>
                        </a:srgbClr>
                      </a:solidFill>
                      <a:prstDash val="solid"/>
                      <a:round/>
                      <a:headEnd type="none" w="sm" len="sm"/>
                      <a:tailEnd type="none" w="sm" len="sm"/>
                    </a:lnB>
                  </a:tcPr>
                </a:tc>
                <a:tc hMerge="1">
                  <a:txBody>
                    <a:bodyPr/>
                    <a:lstStyle/>
                    <a:p>
                      <a:endParaRPr lang="fr-FR"/>
                    </a:p>
                  </a:txBody>
                  <a:tcPr/>
                </a:tc>
                <a:tc hMerge="1">
                  <a:txBody>
                    <a:bodyPr/>
                    <a:lstStyle/>
                    <a:p>
                      <a:endParaRPr lang="fr-FR"/>
                    </a:p>
                  </a:txBody>
                  <a:tcPr/>
                </a:tc>
                <a:tc gridSpan="3">
                  <a:txBody>
                    <a:bodyPr/>
                    <a:lstStyle/>
                    <a:p>
                      <a:pPr marL="0" lvl="0" indent="0" algn="l" rtl="0">
                        <a:lnSpc>
                          <a:spcPct val="150000"/>
                        </a:lnSpc>
                        <a:spcBef>
                          <a:spcPts val="0"/>
                        </a:spcBef>
                        <a:spcAft>
                          <a:spcPts val="0"/>
                        </a:spcAft>
                        <a:buFont typeface="Arial" panose="020B0604020202020204" pitchFamily="34" charset="0"/>
                        <a:buNone/>
                      </a:pPr>
                      <a:r>
                        <a:rPr lang="fr-FR" sz="1000" b="1" i="0" kern="1200" dirty="0">
                          <a:solidFill>
                            <a:schemeClr val="tx1"/>
                          </a:solidFill>
                          <a:effectLst/>
                          <a:latin typeface="+mn-lt"/>
                          <a:ea typeface="+mn-ea"/>
                          <a:cs typeface="+mn-cs"/>
                        </a:rPr>
                        <a:t>Flux de revenus</a:t>
                      </a:r>
                    </a:p>
                    <a:p>
                      <a:pPr marL="171450" indent="-171450">
                        <a:buFont typeface="Arial" panose="020B0604020202020204" pitchFamily="34" charset="0"/>
                        <a:buChar char="•"/>
                      </a:pPr>
                      <a:r>
                        <a:rPr lang="fr-FR" sz="1100" b="1" i="0" kern="1200" dirty="0">
                          <a:solidFill>
                            <a:schemeClr val="tx1"/>
                          </a:solidFill>
                          <a:effectLst/>
                          <a:latin typeface="+mn-lt"/>
                          <a:ea typeface="+mn-ea"/>
                          <a:cs typeface="+mn-cs"/>
                        </a:rPr>
                        <a:t>Commission sur chaque réservation</a:t>
                      </a:r>
                      <a:endParaRPr lang="fr-FR" sz="400" dirty="0"/>
                    </a:p>
                    <a:p>
                      <a:pPr marL="171450" indent="-171450">
                        <a:buFont typeface="Arial" panose="020B0604020202020204" pitchFamily="34" charset="0"/>
                        <a:buChar char="•"/>
                      </a:pPr>
                      <a:r>
                        <a:rPr lang="fr-FR" sz="1100" b="1" i="0" kern="1200" dirty="0">
                          <a:solidFill>
                            <a:schemeClr val="tx1"/>
                          </a:solidFill>
                          <a:effectLst/>
                          <a:latin typeface="+mn-lt"/>
                          <a:ea typeface="+mn-ea"/>
                          <a:cs typeface="+mn-cs"/>
                        </a:rPr>
                        <a:t>Frais de licence mensuelle ou annuelle</a:t>
                      </a:r>
                      <a:endParaRPr lang="fr-FR" sz="400" dirty="0"/>
                    </a:p>
                    <a:p>
                      <a:pPr marL="171450" indent="-171450">
                        <a:buFont typeface="Arial" panose="020B0604020202020204" pitchFamily="34" charset="0"/>
                        <a:buChar char="•"/>
                      </a:pPr>
                      <a:r>
                        <a:rPr lang="fr-FR" sz="1100" b="1" i="0" kern="1200" dirty="0">
                          <a:solidFill>
                            <a:schemeClr val="tx1"/>
                          </a:solidFill>
                          <a:effectLst/>
                          <a:latin typeface="+mn-lt"/>
                          <a:ea typeface="+mn-ea"/>
                          <a:cs typeface="+mn-cs"/>
                        </a:rPr>
                        <a:t>Frais de visibilité renforcée sur la plateforme</a:t>
                      </a:r>
                      <a:endParaRPr lang="fr-FR" sz="400" dirty="0"/>
                    </a:p>
                  </a:txBody>
                  <a:tcPr marL="91425" marR="91425" marT="91425" marB="91425">
                    <a:lnL w="28575" cap="flat" cmpd="sng" algn="ctr">
                      <a:solidFill>
                        <a:srgbClr val="D9D9D9"/>
                      </a:solidFill>
                      <a:prstDash val="solid"/>
                      <a:round/>
                      <a:headEnd type="none" w="sm" len="sm"/>
                      <a:tailEnd type="none" w="sm" len="sm"/>
                    </a:lnL>
                    <a:lnR w="28575" cap="flat" cmpd="sng">
                      <a:solidFill>
                        <a:srgbClr val="D9D9D9">
                          <a:alpha val="0"/>
                        </a:srgbClr>
                      </a:solidFill>
                      <a:prstDash val="solid"/>
                      <a:round/>
                      <a:headEnd type="none" w="sm" len="sm"/>
                      <a:tailEnd type="none" w="sm" len="sm"/>
                    </a:lnR>
                    <a:lnT w="28575" cap="flat" cmpd="sng">
                      <a:solidFill>
                        <a:srgbClr val="D9D9D9"/>
                      </a:solidFill>
                      <a:prstDash val="solid"/>
                      <a:round/>
                      <a:headEnd type="none" w="sm" len="sm"/>
                      <a:tailEnd type="none" w="sm" len="sm"/>
                    </a:lnT>
                    <a:lnB w="28575" cap="flat" cmpd="sng">
                      <a:solidFill>
                        <a:srgbClr val="D9D9D9">
                          <a:alpha val="0"/>
                        </a:srgbClr>
                      </a:solidFill>
                      <a:prstDash val="solid"/>
                      <a:round/>
                      <a:headEnd type="none" w="sm" len="sm"/>
                      <a:tailEnd type="none" w="sm" len="sm"/>
                    </a:lnB>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0006"/>
                  </a:ext>
                </a:extLst>
              </a:tr>
            </a:tbl>
          </a:graphicData>
        </a:graphic>
      </p:graphicFrame>
      <p:sp>
        <p:nvSpPr>
          <p:cNvPr id="406" name="Google Shape;645;p50">
            <a:extLst>
              <a:ext uri="{FF2B5EF4-FFF2-40B4-BE49-F238E27FC236}">
                <a16:creationId xmlns:a16="http://schemas.microsoft.com/office/drawing/2014/main" id="{9EB32083-2DDF-D230-AC5B-755EC001880E}"/>
              </a:ext>
            </a:extLst>
          </p:cNvPr>
          <p:cNvSpPr/>
          <p:nvPr/>
        </p:nvSpPr>
        <p:spPr>
          <a:xfrm>
            <a:off x="3061097" y="1872337"/>
            <a:ext cx="202371" cy="184889"/>
          </a:xfrm>
          <a:custGeom>
            <a:avLst/>
            <a:gdLst/>
            <a:ahLst/>
            <a:cxnLst/>
            <a:rect l="l" t="t" r="r" b="b"/>
            <a:pathLst>
              <a:path w="14145" h="13729" extrusionOk="0">
                <a:moveTo>
                  <a:pt x="5645" y="821"/>
                </a:moveTo>
                <a:cubicBezTo>
                  <a:pt x="5661" y="821"/>
                  <a:pt x="5676" y="822"/>
                  <a:pt x="5691" y="822"/>
                </a:cubicBezTo>
                <a:cubicBezTo>
                  <a:pt x="5846" y="834"/>
                  <a:pt x="6013" y="918"/>
                  <a:pt x="6132" y="1037"/>
                </a:cubicBezTo>
                <a:lnTo>
                  <a:pt x="7394" y="2299"/>
                </a:lnTo>
                <a:cubicBezTo>
                  <a:pt x="7715" y="2608"/>
                  <a:pt x="7668" y="3156"/>
                  <a:pt x="7263" y="3406"/>
                </a:cubicBezTo>
                <a:cubicBezTo>
                  <a:pt x="7156" y="3466"/>
                  <a:pt x="7025" y="3513"/>
                  <a:pt x="6906" y="3513"/>
                </a:cubicBezTo>
                <a:cubicBezTo>
                  <a:pt x="6715" y="3513"/>
                  <a:pt x="6537" y="3442"/>
                  <a:pt x="6394" y="3311"/>
                </a:cubicBezTo>
                <a:lnTo>
                  <a:pt x="5120" y="2025"/>
                </a:lnTo>
                <a:cubicBezTo>
                  <a:pt x="4858" y="1763"/>
                  <a:pt x="4858" y="1311"/>
                  <a:pt x="5120" y="1037"/>
                </a:cubicBezTo>
                <a:cubicBezTo>
                  <a:pt x="5263" y="893"/>
                  <a:pt x="5448" y="821"/>
                  <a:pt x="5645" y="821"/>
                </a:cubicBezTo>
                <a:close/>
                <a:moveTo>
                  <a:pt x="4036" y="2418"/>
                </a:moveTo>
                <a:cubicBezTo>
                  <a:pt x="4227" y="2418"/>
                  <a:pt x="4405" y="2489"/>
                  <a:pt x="4536" y="2620"/>
                </a:cubicBezTo>
                <a:lnTo>
                  <a:pt x="5822" y="3906"/>
                </a:lnTo>
                <a:lnTo>
                  <a:pt x="6132" y="4216"/>
                </a:lnTo>
                <a:cubicBezTo>
                  <a:pt x="6263" y="4347"/>
                  <a:pt x="6346" y="4525"/>
                  <a:pt x="6346" y="4728"/>
                </a:cubicBezTo>
                <a:cubicBezTo>
                  <a:pt x="6346" y="4918"/>
                  <a:pt x="6263" y="5097"/>
                  <a:pt x="6132" y="5228"/>
                </a:cubicBezTo>
                <a:cubicBezTo>
                  <a:pt x="6001" y="5359"/>
                  <a:pt x="5822" y="5442"/>
                  <a:pt x="5632" y="5442"/>
                </a:cubicBezTo>
                <a:cubicBezTo>
                  <a:pt x="5429" y="5442"/>
                  <a:pt x="5251" y="5359"/>
                  <a:pt x="5120" y="5228"/>
                </a:cubicBezTo>
                <a:lnTo>
                  <a:pt x="4810" y="4918"/>
                </a:lnTo>
                <a:lnTo>
                  <a:pt x="3524" y="3620"/>
                </a:lnTo>
                <a:cubicBezTo>
                  <a:pt x="3262" y="3335"/>
                  <a:pt x="3262" y="2894"/>
                  <a:pt x="3524" y="2620"/>
                </a:cubicBezTo>
                <a:cubicBezTo>
                  <a:pt x="3667" y="2489"/>
                  <a:pt x="3846" y="2418"/>
                  <a:pt x="4036" y="2418"/>
                </a:cubicBezTo>
                <a:close/>
                <a:moveTo>
                  <a:pt x="2441" y="4013"/>
                </a:moveTo>
                <a:cubicBezTo>
                  <a:pt x="2631" y="4013"/>
                  <a:pt x="2810" y="4085"/>
                  <a:pt x="2953" y="4216"/>
                </a:cubicBezTo>
                <a:lnTo>
                  <a:pt x="4227" y="5502"/>
                </a:lnTo>
                <a:cubicBezTo>
                  <a:pt x="4513" y="5775"/>
                  <a:pt x="4501" y="6228"/>
                  <a:pt x="4227" y="6490"/>
                </a:cubicBezTo>
                <a:cubicBezTo>
                  <a:pt x="4096" y="6633"/>
                  <a:pt x="3917" y="6704"/>
                  <a:pt x="3727" y="6704"/>
                </a:cubicBezTo>
                <a:cubicBezTo>
                  <a:pt x="3524" y="6704"/>
                  <a:pt x="3346" y="6633"/>
                  <a:pt x="3215" y="6490"/>
                </a:cubicBezTo>
                <a:lnTo>
                  <a:pt x="1953" y="5228"/>
                </a:lnTo>
                <a:cubicBezTo>
                  <a:pt x="1810" y="5097"/>
                  <a:pt x="1738" y="4918"/>
                  <a:pt x="1738" y="4728"/>
                </a:cubicBezTo>
                <a:cubicBezTo>
                  <a:pt x="1726" y="4525"/>
                  <a:pt x="1798" y="4347"/>
                  <a:pt x="1941" y="4216"/>
                </a:cubicBezTo>
                <a:cubicBezTo>
                  <a:pt x="2072" y="4085"/>
                  <a:pt x="2250" y="4013"/>
                  <a:pt x="2441" y="4013"/>
                </a:cubicBezTo>
                <a:close/>
                <a:moveTo>
                  <a:pt x="1657" y="6405"/>
                </a:moveTo>
                <a:cubicBezTo>
                  <a:pt x="1842" y="6405"/>
                  <a:pt x="2008" y="6483"/>
                  <a:pt x="2143" y="6609"/>
                </a:cubicBezTo>
                <a:lnTo>
                  <a:pt x="3096" y="7561"/>
                </a:lnTo>
                <a:cubicBezTo>
                  <a:pt x="3381" y="7847"/>
                  <a:pt x="3381" y="8300"/>
                  <a:pt x="3096" y="8561"/>
                </a:cubicBezTo>
                <a:cubicBezTo>
                  <a:pt x="2965" y="8692"/>
                  <a:pt x="2786" y="8776"/>
                  <a:pt x="2596" y="8776"/>
                </a:cubicBezTo>
                <a:lnTo>
                  <a:pt x="2477" y="8776"/>
                </a:lnTo>
                <a:cubicBezTo>
                  <a:pt x="2322" y="8740"/>
                  <a:pt x="2191" y="8681"/>
                  <a:pt x="2084" y="8573"/>
                </a:cubicBezTo>
                <a:lnTo>
                  <a:pt x="1143" y="7621"/>
                </a:lnTo>
                <a:cubicBezTo>
                  <a:pt x="833" y="7311"/>
                  <a:pt x="869" y="6787"/>
                  <a:pt x="1238" y="6537"/>
                </a:cubicBezTo>
                <a:cubicBezTo>
                  <a:pt x="1322" y="6478"/>
                  <a:pt x="1417" y="6454"/>
                  <a:pt x="1524" y="6418"/>
                </a:cubicBezTo>
                <a:cubicBezTo>
                  <a:pt x="1569" y="6409"/>
                  <a:pt x="1614" y="6405"/>
                  <a:pt x="1657" y="6405"/>
                </a:cubicBezTo>
                <a:close/>
                <a:moveTo>
                  <a:pt x="11835" y="9919"/>
                </a:moveTo>
                <a:lnTo>
                  <a:pt x="12180" y="10252"/>
                </a:lnTo>
                <a:cubicBezTo>
                  <a:pt x="12359" y="10443"/>
                  <a:pt x="12299" y="10836"/>
                  <a:pt x="12025" y="11097"/>
                </a:cubicBezTo>
                <a:lnTo>
                  <a:pt x="10418" y="12693"/>
                </a:lnTo>
                <a:cubicBezTo>
                  <a:pt x="10287" y="12830"/>
                  <a:pt x="10108" y="12898"/>
                  <a:pt x="9930" y="12898"/>
                </a:cubicBezTo>
                <a:cubicBezTo>
                  <a:pt x="9751" y="12898"/>
                  <a:pt x="9573" y="12830"/>
                  <a:pt x="9442" y="12693"/>
                </a:cubicBezTo>
                <a:lnTo>
                  <a:pt x="8989" y="12252"/>
                </a:lnTo>
                <a:cubicBezTo>
                  <a:pt x="9573" y="12002"/>
                  <a:pt x="10097" y="11657"/>
                  <a:pt x="10537" y="11205"/>
                </a:cubicBezTo>
                <a:lnTo>
                  <a:pt x="11835" y="9919"/>
                </a:lnTo>
                <a:close/>
                <a:moveTo>
                  <a:pt x="8477" y="773"/>
                </a:moveTo>
                <a:cubicBezTo>
                  <a:pt x="8489" y="773"/>
                  <a:pt x="8501" y="774"/>
                  <a:pt x="8513" y="775"/>
                </a:cubicBezTo>
                <a:cubicBezTo>
                  <a:pt x="8965" y="822"/>
                  <a:pt x="9239" y="1156"/>
                  <a:pt x="9239" y="1513"/>
                </a:cubicBezTo>
                <a:cubicBezTo>
                  <a:pt x="9239" y="1703"/>
                  <a:pt x="9168" y="1882"/>
                  <a:pt x="9037" y="2013"/>
                </a:cubicBezTo>
                <a:cubicBezTo>
                  <a:pt x="8965" y="2084"/>
                  <a:pt x="8918" y="2204"/>
                  <a:pt x="8918" y="2311"/>
                </a:cubicBezTo>
                <a:cubicBezTo>
                  <a:pt x="8918" y="2418"/>
                  <a:pt x="8965" y="2525"/>
                  <a:pt x="9037" y="2608"/>
                </a:cubicBezTo>
                <a:cubicBezTo>
                  <a:pt x="9120" y="2692"/>
                  <a:pt x="9227" y="2733"/>
                  <a:pt x="9333" y="2733"/>
                </a:cubicBezTo>
                <a:cubicBezTo>
                  <a:pt x="9439" y="2733"/>
                  <a:pt x="9543" y="2692"/>
                  <a:pt x="9620" y="2608"/>
                </a:cubicBezTo>
                <a:cubicBezTo>
                  <a:pt x="9757" y="2465"/>
                  <a:pt x="9939" y="2394"/>
                  <a:pt x="10119" y="2394"/>
                </a:cubicBezTo>
                <a:cubicBezTo>
                  <a:pt x="10299" y="2394"/>
                  <a:pt x="10478" y="2465"/>
                  <a:pt x="10609" y="2608"/>
                </a:cubicBezTo>
                <a:cubicBezTo>
                  <a:pt x="10894" y="2894"/>
                  <a:pt x="10894" y="3335"/>
                  <a:pt x="10609" y="3608"/>
                </a:cubicBezTo>
                <a:cubicBezTo>
                  <a:pt x="10537" y="3680"/>
                  <a:pt x="10489" y="3799"/>
                  <a:pt x="10489" y="3906"/>
                </a:cubicBezTo>
                <a:cubicBezTo>
                  <a:pt x="10489" y="4013"/>
                  <a:pt x="10537" y="4109"/>
                  <a:pt x="10609" y="4204"/>
                </a:cubicBezTo>
                <a:cubicBezTo>
                  <a:pt x="10692" y="4287"/>
                  <a:pt x="10802" y="4329"/>
                  <a:pt x="10909" y="4329"/>
                </a:cubicBezTo>
                <a:cubicBezTo>
                  <a:pt x="11016" y="4329"/>
                  <a:pt x="11120" y="4287"/>
                  <a:pt x="11192" y="4204"/>
                </a:cubicBezTo>
                <a:cubicBezTo>
                  <a:pt x="11323" y="4073"/>
                  <a:pt x="11501" y="3989"/>
                  <a:pt x="11704" y="3989"/>
                </a:cubicBezTo>
                <a:cubicBezTo>
                  <a:pt x="11894" y="3989"/>
                  <a:pt x="12073" y="4073"/>
                  <a:pt x="12204" y="4204"/>
                </a:cubicBezTo>
                <a:cubicBezTo>
                  <a:pt x="12335" y="4335"/>
                  <a:pt x="12418" y="4513"/>
                  <a:pt x="12418" y="4704"/>
                </a:cubicBezTo>
                <a:cubicBezTo>
                  <a:pt x="12418" y="4906"/>
                  <a:pt x="12335" y="5061"/>
                  <a:pt x="12204" y="5204"/>
                </a:cubicBezTo>
                <a:lnTo>
                  <a:pt x="11609" y="5799"/>
                </a:lnTo>
                <a:cubicBezTo>
                  <a:pt x="11466" y="5942"/>
                  <a:pt x="11442" y="6180"/>
                  <a:pt x="11585" y="6347"/>
                </a:cubicBezTo>
                <a:lnTo>
                  <a:pt x="11668" y="6466"/>
                </a:lnTo>
                <a:cubicBezTo>
                  <a:pt x="11726" y="6538"/>
                  <a:pt x="11813" y="6575"/>
                  <a:pt x="11902" y="6575"/>
                </a:cubicBezTo>
                <a:cubicBezTo>
                  <a:pt x="11961" y="6575"/>
                  <a:pt x="12021" y="6559"/>
                  <a:pt x="12073" y="6525"/>
                </a:cubicBezTo>
                <a:cubicBezTo>
                  <a:pt x="12202" y="6424"/>
                  <a:pt x="12352" y="6375"/>
                  <a:pt x="12502" y="6375"/>
                </a:cubicBezTo>
                <a:cubicBezTo>
                  <a:pt x="12686" y="6375"/>
                  <a:pt x="12870" y="6448"/>
                  <a:pt x="13014" y="6585"/>
                </a:cubicBezTo>
                <a:cubicBezTo>
                  <a:pt x="13287" y="6871"/>
                  <a:pt x="13287" y="7311"/>
                  <a:pt x="13014" y="7585"/>
                </a:cubicBezTo>
                <a:lnTo>
                  <a:pt x="12061" y="8538"/>
                </a:lnTo>
                <a:lnTo>
                  <a:pt x="10013" y="10574"/>
                </a:lnTo>
                <a:cubicBezTo>
                  <a:pt x="9180" y="11371"/>
                  <a:pt x="8118" y="11798"/>
                  <a:pt x="7049" y="11798"/>
                </a:cubicBezTo>
                <a:cubicBezTo>
                  <a:pt x="6698" y="11798"/>
                  <a:pt x="6346" y="11751"/>
                  <a:pt x="6001" y="11657"/>
                </a:cubicBezTo>
                <a:cubicBezTo>
                  <a:pt x="5989" y="11657"/>
                  <a:pt x="5965" y="11657"/>
                  <a:pt x="5965" y="11645"/>
                </a:cubicBezTo>
                <a:lnTo>
                  <a:pt x="5775" y="11645"/>
                </a:lnTo>
                <a:cubicBezTo>
                  <a:pt x="5775" y="11645"/>
                  <a:pt x="5763" y="11645"/>
                  <a:pt x="5763" y="11657"/>
                </a:cubicBezTo>
                <a:lnTo>
                  <a:pt x="5751" y="11657"/>
                </a:lnTo>
                <a:cubicBezTo>
                  <a:pt x="5751" y="11657"/>
                  <a:pt x="5727" y="11657"/>
                  <a:pt x="5727" y="11669"/>
                </a:cubicBezTo>
                <a:cubicBezTo>
                  <a:pt x="5727" y="11669"/>
                  <a:pt x="5715" y="11669"/>
                  <a:pt x="5715" y="11693"/>
                </a:cubicBezTo>
                <a:cubicBezTo>
                  <a:pt x="5715" y="11693"/>
                  <a:pt x="5703" y="11693"/>
                  <a:pt x="5703" y="11705"/>
                </a:cubicBezTo>
                <a:lnTo>
                  <a:pt x="5691" y="11717"/>
                </a:lnTo>
                <a:cubicBezTo>
                  <a:pt x="5691" y="11717"/>
                  <a:pt x="5667" y="11717"/>
                  <a:pt x="5667" y="11729"/>
                </a:cubicBezTo>
                <a:lnTo>
                  <a:pt x="5656" y="11752"/>
                </a:lnTo>
                <a:lnTo>
                  <a:pt x="5644" y="11752"/>
                </a:lnTo>
                <a:lnTo>
                  <a:pt x="4584" y="12800"/>
                </a:lnTo>
                <a:cubicBezTo>
                  <a:pt x="4489" y="12901"/>
                  <a:pt x="4367" y="12952"/>
                  <a:pt x="4245" y="12952"/>
                </a:cubicBezTo>
                <a:cubicBezTo>
                  <a:pt x="4123" y="12952"/>
                  <a:pt x="4001" y="12901"/>
                  <a:pt x="3905" y="12800"/>
                </a:cubicBezTo>
                <a:lnTo>
                  <a:pt x="2143" y="11050"/>
                </a:lnTo>
                <a:cubicBezTo>
                  <a:pt x="2012" y="10919"/>
                  <a:pt x="1917" y="10740"/>
                  <a:pt x="1917" y="10562"/>
                </a:cubicBezTo>
                <a:cubicBezTo>
                  <a:pt x="1905" y="10395"/>
                  <a:pt x="1965" y="10240"/>
                  <a:pt x="2072" y="10145"/>
                </a:cubicBezTo>
                <a:lnTo>
                  <a:pt x="2655" y="9562"/>
                </a:lnTo>
                <a:lnTo>
                  <a:pt x="2679" y="9562"/>
                </a:lnTo>
                <a:cubicBezTo>
                  <a:pt x="3096" y="9562"/>
                  <a:pt x="3489" y="9395"/>
                  <a:pt x="3762" y="9109"/>
                </a:cubicBezTo>
                <a:cubicBezTo>
                  <a:pt x="4215" y="8669"/>
                  <a:pt x="4334" y="8014"/>
                  <a:pt x="4108" y="7466"/>
                </a:cubicBezTo>
                <a:cubicBezTo>
                  <a:pt x="4393" y="7407"/>
                  <a:pt x="4655" y="7252"/>
                  <a:pt x="4882" y="7049"/>
                </a:cubicBezTo>
                <a:cubicBezTo>
                  <a:pt x="5120" y="6811"/>
                  <a:pt x="5275" y="6490"/>
                  <a:pt x="5310" y="6180"/>
                </a:cubicBezTo>
                <a:cubicBezTo>
                  <a:pt x="5429" y="6216"/>
                  <a:pt x="5572" y="6228"/>
                  <a:pt x="5703" y="6228"/>
                </a:cubicBezTo>
                <a:cubicBezTo>
                  <a:pt x="6120" y="6228"/>
                  <a:pt x="6501" y="6061"/>
                  <a:pt x="6787" y="5775"/>
                </a:cubicBezTo>
                <a:cubicBezTo>
                  <a:pt x="7084" y="5478"/>
                  <a:pt x="7239" y="5109"/>
                  <a:pt x="7239" y="4692"/>
                </a:cubicBezTo>
                <a:cubicBezTo>
                  <a:pt x="7239" y="4561"/>
                  <a:pt x="7215" y="4442"/>
                  <a:pt x="7191" y="4311"/>
                </a:cubicBezTo>
                <a:cubicBezTo>
                  <a:pt x="7513" y="4263"/>
                  <a:pt x="7811" y="4109"/>
                  <a:pt x="8049" y="3870"/>
                </a:cubicBezTo>
                <a:cubicBezTo>
                  <a:pt x="8644" y="3275"/>
                  <a:pt x="8644" y="2299"/>
                  <a:pt x="8049" y="1703"/>
                </a:cubicBezTo>
                <a:lnTo>
                  <a:pt x="7691" y="1346"/>
                </a:lnTo>
                <a:lnTo>
                  <a:pt x="8108" y="930"/>
                </a:lnTo>
                <a:cubicBezTo>
                  <a:pt x="8206" y="831"/>
                  <a:pt x="8344" y="773"/>
                  <a:pt x="8477" y="773"/>
                </a:cubicBezTo>
                <a:close/>
                <a:moveTo>
                  <a:pt x="5656" y="1"/>
                </a:moveTo>
                <a:cubicBezTo>
                  <a:pt x="5239" y="1"/>
                  <a:pt x="4858" y="168"/>
                  <a:pt x="4572" y="453"/>
                </a:cubicBezTo>
                <a:cubicBezTo>
                  <a:pt x="4262" y="763"/>
                  <a:pt x="4108" y="1180"/>
                  <a:pt x="4120" y="1596"/>
                </a:cubicBezTo>
                <a:lnTo>
                  <a:pt x="4060" y="1596"/>
                </a:lnTo>
                <a:cubicBezTo>
                  <a:pt x="3643" y="1596"/>
                  <a:pt x="3262" y="1763"/>
                  <a:pt x="2977" y="2037"/>
                </a:cubicBezTo>
                <a:cubicBezTo>
                  <a:pt x="2667" y="2358"/>
                  <a:pt x="2512" y="2775"/>
                  <a:pt x="2536" y="3192"/>
                </a:cubicBezTo>
                <a:lnTo>
                  <a:pt x="2477" y="3192"/>
                </a:lnTo>
                <a:cubicBezTo>
                  <a:pt x="2060" y="3192"/>
                  <a:pt x="1667" y="3358"/>
                  <a:pt x="1381" y="3632"/>
                </a:cubicBezTo>
                <a:cubicBezTo>
                  <a:pt x="1084" y="3930"/>
                  <a:pt x="941" y="4323"/>
                  <a:pt x="941" y="4716"/>
                </a:cubicBezTo>
                <a:cubicBezTo>
                  <a:pt x="941" y="5049"/>
                  <a:pt x="1048" y="5371"/>
                  <a:pt x="1238" y="5633"/>
                </a:cubicBezTo>
                <a:cubicBezTo>
                  <a:pt x="1000" y="5704"/>
                  <a:pt x="774" y="5835"/>
                  <a:pt x="595" y="6014"/>
                </a:cubicBezTo>
                <a:cubicBezTo>
                  <a:pt x="0" y="6609"/>
                  <a:pt x="0" y="7597"/>
                  <a:pt x="595" y="8192"/>
                </a:cubicBezTo>
                <a:lnTo>
                  <a:pt x="1548" y="9145"/>
                </a:lnTo>
                <a:cubicBezTo>
                  <a:pt x="1607" y="9204"/>
                  <a:pt x="1667" y="9252"/>
                  <a:pt x="1726" y="9288"/>
                </a:cubicBezTo>
                <a:lnTo>
                  <a:pt x="1441" y="9573"/>
                </a:lnTo>
                <a:cubicBezTo>
                  <a:pt x="1179" y="9835"/>
                  <a:pt x="1024" y="10216"/>
                  <a:pt x="1060" y="10633"/>
                </a:cubicBezTo>
                <a:cubicBezTo>
                  <a:pt x="1072" y="11014"/>
                  <a:pt x="1250" y="11395"/>
                  <a:pt x="1536" y="11669"/>
                </a:cubicBezTo>
                <a:lnTo>
                  <a:pt x="3143" y="13276"/>
                </a:lnTo>
                <a:cubicBezTo>
                  <a:pt x="3441" y="13574"/>
                  <a:pt x="3822" y="13729"/>
                  <a:pt x="4227" y="13729"/>
                </a:cubicBezTo>
                <a:cubicBezTo>
                  <a:pt x="4632" y="13729"/>
                  <a:pt x="5013" y="13574"/>
                  <a:pt x="5310" y="13276"/>
                </a:cubicBezTo>
                <a:lnTo>
                  <a:pt x="6060" y="12538"/>
                </a:lnTo>
                <a:cubicBezTo>
                  <a:pt x="6406" y="12610"/>
                  <a:pt x="6739" y="12633"/>
                  <a:pt x="7096" y="12633"/>
                </a:cubicBezTo>
                <a:cubicBezTo>
                  <a:pt x="7441" y="12633"/>
                  <a:pt x="7799" y="12610"/>
                  <a:pt x="8144" y="12538"/>
                </a:cubicBezTo>
                <a:lnTo>
                  <a:pt x="8882" y="13276"/>
                </a:lnTo>
                <a:cubicBezTo>
                  <a:pt x="9180" y="13574"/>
                  <a:pt x="9573" y="13729"/>
                  <a:pt x="9977" y="13729"/>
                </a:cubicBezTo>
                <a:cubicBezTo>
                  <a:pt x="10358" y="13729"/>
                  <a:pt x="10763" y="13574"/>
                  <a:pt x="11061" y="13276"/>
                </a:cubicBezTo>
                <a:lnTo>
                  <a:pt x="12668" y="11669"/>
                </a:lnTo>
                <a:cubicBezTo>
                  <a:pt x="13264" y="11074"/>
                  <a:pt x="13335" y="10169"/>
                  <a:pt x="12811" y="9657"/>
                </a:cubicBezTo>
                <a:lnTo>
                  <a:pt x="12478" y="9323"/>
                </a:lnTo>
                <a:lnTo>
                  <a:pt x="12597" y="9145"/>
                </a:lnTo>
                <a:lnTo>
                  <a:pt x="13549" y="8192"/>
                </a:lnTo>
                <a:cubicBezTo>
                  <a:pt x="14145" y="7597"/>
                  <a:pt x="14145" y="6609"/>
                  <a:pt x="13549" y="6002"/>
                </a:cubicBezTo>
                <a:cubicBezTo>
                  <a:pt x="13371" y="5823"/>
                  <a:pt x="13145" y="5692"/>
                  <a:pt x="12906" y="5609"/>
                </a:cubicBezTo>
                <a:cubicBezTo>
                  <a:pt x="13097" y="5347"/>
                  <a:pt x="13204" y="5037"/>
                  <a:pt x="13204" y="4704"/>
                </a:cubicBezTo>
                <a:cubicBezTo>
                  <a:pt x="13204" y="4287"/>
                  <a:pt x="13037" y="3906"/>
                  <a:pt x="12752" y="3620"/>
                </a:cubicBezTo>
                <a:cubicBezTo>
                  <a:pt x="12454" y="3323"/>
                  <a:pt x="12073" y="3168"/>
                  <a:pt x="11668" y="3168"/>
                </a:cubicBezTo>
                <a:lnTo>
                  <a:pt x="11621" y="3168"/>
                </a:lnTo>
                <a:cubicBezTo>
                  <a:pt x="11644" y="2763"/>
                  <a:pt x="11490" y="2334"/>
                  <a:pt x="11180" y="2025"/>
                </a:cubicBezTo>
                <a:cubicBezTo>
                  <a:pt x="10891" y="1736"/>
                  <a:pt x="10509" y="1582"/>
                  <a:pt x="10121" y="1582"/>
                </a:cubicBezTo>
                <a:cubicBezTo>
                  <a:pt x="10093" y="1582"/>
                  <a:pt x="10065" y="1583"/>
                  <a:pt x="10037" y="1584"/>
                </a:cubicBezTo>
                <a:lnTo>
                  <a:pt x="10037" y="1537"/>
                </a:lnTo>
                <a:cubicBezTo>
                  <a:pt x="10037" y="1120"/>
                  <a:pt x="9870" y="727"/>
                  <a:pt x="9585" y="453"/>
                </a:cubicBezTo>
                <a:cubicBezTo>
                  <a:pt x="9287" y="156"/>
                  <a:pt x="8894" y="7"/>
                  <a:pt x="8498" y="7"/>
                </a:cubicBezTo>
                <a:cubicBezTo>
                  <a:pt x="8102" y="7"/>
                  <a:pt x="7703" y="156"/>
                  <a:pt x="7394" y="453"/>
                </a:cubicBezTo>
                <a:lnTo>
                  <a:pt x="7072" y="775"/>
                </a:lnTo>
                <a:lnTo>
                  <a:pt x="6739" y="453"/>
                </a:lnTo>
                <a:cubicBezTo>
                  <a:pt x="6441" y="156"/>
                  <a:pt x="6060" y="1"/>
                  <a:pt x="565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07" name="Google Shape;646;p50">
            <a:extLst>
              <a:ext uri="{FF2B5EF4-FFF2-40B4-BE49-F238E27FC236}">
                <a16:creationId xmlns:a16="http://schemas.microsoft.com/office/drawing/2014/main" id="{BC9BC373-7A58-740B-6B11-E484362A7912}"/>
              </a:ext>
            </a:extLst>
          </p:cNvPr>
          <p:cNvGrpSpPr/>
          <p:nvPr/>
        </p:nvGrpSpPr>
        <p:grpSpPr>
          <a:xfrm>
            <a:off x="4934651" y="1830830"/>
            <a:ext cx="226541" cy="126096"/>
            <a:chOff x="2936600" y="1130634"/>
            <a:chExt cx="159769" cy="94476"/>
          </a:xfrm>
        </p:grpSpPr>
        <p:sp>
          <p:nvSpPr>
            <p:cNvPr id="408" name="Google Shape;647;p50">
              <a:extLst>
                <a:ext uri="{FF2B5EF4-FFF2-40B4-BE49-F238E27FC236}">
                  <a16:creationId xmlns:a16="http://schemas.microsoft.com/office/drawing/2014/main" id="{63917665-FA08-CE36-EDF3-2C241656DDEB}"/>
                </a:ext>
              </a:extLst>
            </p:cNvPr>
            <p:cNvSpPr/>
            <p:nvPr/>
          </p:nvSpPr>
          <p:spPr>
            <a:xfrm>
              <a:off x="2936600" y="1155423"/>
              <a:ext cx="159769" cy="69686"/>
            </a:xfrm>
            <a:custGeom>
              <a:avLst/>
              <a:gdLst/>
              <a:ahLst/>
              <a:cxnLst/>
              <a:rect l="l" t="t" r="r" b="b"/>
              <a:pathLst>
                <a:path w="13896" h="6061" extrusionOk="0">
                  <a:moveTo>
                    <a:pt x="12395" y="822"/>
                  </a:moveTo>
                  <a:cubicBezTo>
                    <a:pt x="12764" y="822"/>
                    <a:pt x="13086" y="1131"/>
                    <a:pt x="13086" y="1500"/>
                  </a:cubicBezTo>
                  <a:lnTo>
                    <a:pt x="13086" y="4560"/>
                  </a:lnTo>
                  <a:cubicBezTo>
                    <a:pt x="13086" y="4929"/>
                    <a:pt x="12788" y="5239"/>
                    <a:pt x="12395" y="5239"/>
                  </a:cubicBezTo>
                  <a:lnTo>
                    <a:pt x="1501" y="5239"/>
                  </a:lnTo>
                  <a:cubicBezTo>
                    <a:pt x="1132" y="5239"/>
                    <a:pt x="823" y="4929"/>
                    <a:pt x="823" y="4560"/>
                  </a:cubicBezTo>
                  <a:lnTo>
                    <a:pt x="823" y="1500"/>
                  </a:lnTo>
                  <a:cubicBezTo>
                    <a:pt x="823" y="1131"/>
                    <a:pt x="1132" y="822"/>
                    <a:pt x="1501" y="822"/>
                  </a:cubicBezTo>
                  <a:close/>
                  <a:moveTo>
                    <a:pt x="1501" y="0"/>
                  </a:moveTo>
                  <a:cubicBezTo>
                    <a:pt x="668" y="0"/>
                    <a:pt x="1" y="667"/>
                    <a:pt x="1" y="1500"/>
                  </a:cubicBezTo>
                  <a:lnTo>
                    <a:pt x="1" y="4560"/>
                  </a:lnTo>
                  <a:cubicBezTo>
                    <a:pt x="1" y="5394"/>
                    <a:pt x="668" y="6060"/>
                    <a:pt x="1501" y="6060"/>
                  </a:cubicBezTo>
                  <a:lnTo>
                    <a:pt x="12395" y="6060"/>
                  </a:lnTo>
                  <a:cubicBezTo>
                    <a:pt x="13229" y="6060"/>
                    <a:pt x="13896" y="5394"/>
                    <a:pt x="13896" y="4560"/>
                  </a:cubicBezTo>
                  <a:lnTo>
                    <a:pt x="13896" y="1500"/>
                  </a:lnTo>
                  <a:cubicBezTo>
                    <a:pt x="13896" y="667"/>
                    <a:pt x="13229" y="0"/>
                    <a:pt x="1239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09" name="Google Shape;648;p50">
              <a:extLst>
                <a:ext uri="{FF2B5EF4-FFF2-40B4-BE49-F238E27FC236}">
                  <a16:creationId xmlns:a16="http://schemas.microsoft.com/office/drawing/2014/main" id="{03965C28-2F40-66BC-7461-3A6F1B456BB9}"/>
                </a:ext>
              </a:extLst>
            </p:cNvPr>
            <p:cNvSpPr/>
            <p:nvPr/>
          </p:nvSpPr>
          <p:spPr>
            <a:xfrm>
              <a:off x="2936875" y="1130634"/>
              <a:ext cx="9324" cy="9187"/>
            </a:xfrm>
            <a:custGeom>
              <a:avLst/>
              <a:gdLst/>
              <a:ahLst/>
              <a:cxnLst/>
              <a:rect l="l" t="t" r="r" b="b"/>
              <a:pathLst>
                <a:path w="811" h="799" extrusionOk="0">
                  <a:moveTo>
                    <a:pt x="406" y="1"/>
                  </a:moveTo>
                  <a:cubicBezTo>
                    <a:pt x="298" y="1"/>
                    <a:pt x="203" y="49"/>
                    <a:pt x="120" y="120"/>
                  </a:cubicBezTo>
                  <a:cubicBezTo>
                    <a:pt x="48" y="191"/>
                    <a:pt x="1" y="299"/>
                    <a:pt x="1" y="406"/>
                  </a:cubicBezTo>
                  <a:cubicBezTo>
                    <a:pt x="1" y="501"/>
                    <a:pt x="48" y="608"/>
                    <a:pt x="120" y="680"/>
                  </a:cubicBezTo>
                  <a:cubicBezTo>
                    <a:pt x="203" y="763"/>
                    <a:pt x="298" y="799"/>
                    <a:pt x="406" y="799"/>
                  </a:cubicBezTo>
                  <a:cubicBezTo>
                    <a:pt x="513" y="799"/>
                    <a:pt x="620" y="763"/>
                    <a:pt x="691" y="680"/>
                  </a:cubicBezTo>
                  <a:cubicBezTo>
                    <a:pt x="763" y="608"/>
                    <a:pt x="810" y="501"/>
                    <a:pt x="810" y="406"/>
                  </a:cubicBezTo>
                  <a:cubicBezTo>
                    <a:pt x="810" y="299"/>
                    <a:pt x="763" y="191"/>
                    <a:pt x="691" y="120"/>
                  </a:cubicBezTo>
                  <a:cubicBezTo>
                    <a:pt x="620" y="49"/>
                    <a:pt x="513" y="1"/>
                    <a:pt x="40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649;p50">
              <a:extLst>
                <a:ext uri="{FF2B5EF4-FFF2-40B4-BE49-F238E27FC236}">
                  <a16:creationId xmlns:a16="http://schemas.microsoft.com/office/drawing/2014/main" id="{90CADA06-595A-9668-65D5-802DA2BF81ED}"/>
                </a:ext>
              </a:extLst>
            </p:cNvPr>
            <p:cNvSpPr/>
            <p:nvPr/>
          </p:nvSpPr>
          <p:spPr>
            <a:xfrm>
              <a:off x="2957008" y="1130634"/>
              <a:ext cx="9175" cy="9187"/>
            </a:xfrm>
            <a:custGeom>
              <a:avLst/>
              <a:gdLst/>
              <a:ahLst/>
              <a:cxnLst/>
              <a:rect l="l" t="t" r="r" b="b"/>
              <a:pathLst>
                <a:path w="798" h="799" extrusionOk="0">
                  <a:moveTo>
                    <a:pt x="393" y="1"/>
                  </a:moveTo>
                  <a:cubicBezTo>
                    <a:pt x="298" y="1"/>
                    <a:pt x="191" y="49"/>
                    <a:pt x="119" y="120"/>
                  </a:cubicBezTo>
                  <a:cubicBezTo>
                    <a:pt x="36" y="191"/>
                    <a:pt x="0" y="299"/>
                    <a:pt x="0" y="406"/>
                  </a:cubicBezTo>
                  <a:cubicBezTo>
                    <a:pt x="0" y="501"/>
                    <a:pt x="36" y="608"/>
                    <a:pt x="119" y="680"/>
                  </a:cubicBezTo>
                  <a:cubicBezTo>
                    <a:pt x="191" y="763"/>
                    <a:pt x="298" y="799"/>
                    <a:pt x="393" y="799"/>
                  </a:cubicBezTo>
                  <a:cubicBezTo>
                    <a:pt x="500" y="799"/>
                    <a:pt x="607" y="763"/>
                    <a:pt x="679" y="680"/>
                  </a:cubicBezTo>
                  <a:cubicBezTo>
                    <a:pt x="750" y="608"/>
                    <a:pt x="798" y="501"/>
                    <a:pt x="798" y="406"/>
                  </a:cubicBezTo>
                  <a:cubicBezTo>
                    <a:pt x="798" y="299"/>
                    <a:pt x="750" y="191"/>
                    <a:pt x="679" y="120"/>
                  </a:cubicBezTo>
                  <a:cubicBezTo>
                    <a:pt x="607" y="49"/>
                    <a:pt x="500" y="1"/>
                    <a:pt x="39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650;p50">
              <a:extLst>
                <a:ext uri="{FF2B5EF4-FFF2-40B4-BE49-F238E27FC236}">
                  <a16:creationId xmlns:a16="http://schemas.microsoft.com/office/drawing/2014/main" id="{E1279774-F7A2-D666-B70F-E7672FCE2793}"/>
                </a:ext>
              </a:extLst>
            </p:cNvPr>
            <p:cNvSpPr/>
            <p:nvPr/>
          </p:nvSpPr>
          <p:spPr>
            <a:xfrm>
              <a:off x="2976992" y="1130634"/>
              <a:ext cx="9187" cy="9187"/>
            </a:xfrm>
            <a:custGeom>
              <a:avLst/>
              <a:gdLst/>
              <a:ahLst/>
              <a:cxnLst/>
              <a:rect l="l" t="t" r="r" b="b"/>
              <a:pathLst>
                <a:path w="799" h="799" extrusionOk="0">
                  <a:moveTo>
                    <a:pt x="405" y="1"/>
                  </a:moveTo>
                  <a:cubicBezTo>
                    <a:pt x="298" y="1"/>
                    <a:pt x="191" y="49"/>
                    <a:pt x="119" y="120"/>
                  </a:cubicBezTo>
                  <a:cubicBezTo>
                    <a:pt x="48" y="191"/>
                    <a:pt x="0" y="299"/>
                    <a:pt x="0" y="406"/>
                  </a:cubicBezTo>
                  <a:cubicBezTo>
                    <a:pt x="0" y="501"/>
                    <a:pt x="48" y="608"/>
                    <a:pt x="119" y="680"/>
                  </a:cubicBezTo>
                  <a:cubicBezTo>
                    <a:pt x="191" y="763"/>
                    <a:pt x="298" y="799"/>
                    <a:pt x="405" y="799"/>
                  </a:cubicBezTo>
                  <a:cubicBezTo>
                    <a:pt x="500" y="799"/>
                    <a:pt x="608" y="763"/>
                    <a:pt x="679" y="680"/>
                  </a:cubicBezTo>
                  <a:cubicBezTo>
                    <a:pt x="750" y="608"/>
                    <a:pt x="798" y="501"/>
                    <a:pt x="798" y="406"/>
                  </a:cubicBezTo>
                  <a:cubicBezTo>
                    <a:pt x="798" y="299"/>
                    <a:pt x="750" y="191"/>
                    <a:pt x="679" y="120"/>
                  </a:cubicBezTo>
                  <a:cubicBezTo>
                    <a:pt x="608" y="49"/>
                    <a:pt x="500" y="1"/>
                    <a:pt x="40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651;p50">
              <a:extLst>
                <a:ext uri="{FF2B5EF4-FFF2-40B4-BE49-F238E27FC236}">
                  <a16:creationId xmlns:a16="http://schemas.microsoft.com/office/drawing/2014/main" id="{A3E328A6-0A27-FB5C-652C-F68A27043170}"/>
                </a:ext>
              </a:extLst>
            </p:cNvPr>
            <p:cNvSpPr/>
            <p:nvPr/>
          </p:nvSpPr>
          <p:spPr>
            <a:xfrm>
              <a:off x="2957135" y="1175821"/>
              <a:ext cx="119252" cy="29296"/>
            </a:xfrm>
            <a:custGeom>
              <a:avLst/>
              <a:gdLst/>
              <a:ahLst/>
              <a:cxnLst/>
              <a:rect l="l" t="t" r="r" b="b"/>
              <a:pathLst>
                <a:path w="10372" h="2548" extrusionOk="0">
                  <a:moveTo>
                    <a:pt x="1727" y="798"/>
                  </a:moveTo>
                  <a:lnTo>
                    <a:pt x="1727" y="1726"/>
                  </a:lnTo>
                  <a:lnTo>
                    <a:pt x="799" y="1726"/>
                  </a:lnTo>
                  <a:lnTo>
                    <a:pt x="799" y="798"/>
                  </a:lnTo>
                  <a:close/>
                  <a:moveTo>
                    <a:pt x="3466" y="798"/>
                  </a:moveTo>
                  <a:lnTo>
                    <a:pt x="3466" y="1726"/>
                  </a:lnTo>
                  <a:lnTo>
                    <a:pt x="2549" y="1726"/>
                  </a:lnTo>
                  <a:lnTo>
                    <a:pt x="2549" y="798"/>
                  </a:lnTo>
                  <a:close/>
                  <a:moveTo>
                    <a:pt x="5192" y="798"/>
                  </a:moveTo>
                  <a:lnTo>
                    <a:pt x="5192" y="1726"/>
                  </a:lnTo>
                  <a:lnTo>
                    <a:pt x="4275" y="1726"/>
                  </a:lnTo>
                  <a:lnTo>
                    <a:pt x="4275" y="798"/>
                  </a:lnTo>
                  <a:close/>
                  <a:moveTo>
                    <a:pt x="9574" y="798"/>
                  </a:moveTo>
                  <a:lnTo>
                    <a:pt x="9574" y="1726"/>
                  </a:lnTo>
                  <a:lnTo>
                    <a:pt x="6014" y="1726"/>
                  </a:lnTo>
                  <a:lnTo>
                    <a:pt x="6014" y="798"/>
                  </a:lnTo>
                  <a:close/>
                  <a:moveTo>
                    <a:pt x="394" y="0"/>
                  </a:moveTo>
                  <a:cubicBezTo>
                    <a:pt x="180" y="0"/>
                    <a:pt x="1" y="179"/>
                    <a:pt x="1" y="405"/>
                  </a:cubicBezTo>
                  <a:lnTo>
                    <a:pt x="1" y="2143"/>
                  </a:lnTo>
                  <a:cubicBezTo>
                    <a:pt x="1" y="2369"/>
                    <a:pt x="180" y="2548"/>
                    <a:pt x="394" y="2548"/>
                  </a:cubicBezTo>
                  <a:lnTo>
                    <a:pt x="9966" y="2548"/>
                  </a:lnTo>
                  <a:cubicBezTo>
                    <a:pt x="10193" y="2548"/>
                    <a:pt x="10371" y="2369"/>
                    <a:pt x="10371" y="2143"/>
                  </a:cubicBezTo>
                  <a:lnTo>
                    <a:pt x="10371" y="405"/>
                  </a:lnTo>
                  <a:cubicBezTo>
                    <a:pt x="10371" y="179"/>
                    <a:pt x="10193" y="0"/>
                    <a:pt x="996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13" name="Google Shape;652;p50">
            <a:extLst>
              <a:ext uri="{FF2B5EF4-FFF2-40B4-BE49-F238E27FC236}">
                <a16:creationId xmlns:a16="http://schemas.microsoft.com/office/drawing/2014/main" id="{FB580B5E-F896-52E7-D853-8E2C350233B1}"/>
              </a:ext>
            </a:extLst>
          </p:cNvPr>
          <p:cNvGrpSpPr/>
          <p:nvPr/>
        </p:nvGrpSpPr>
        <p:grpSpPr>
          <a:xfrm>
            <a:off x="6957733" y="1861689"/>
            <a:ext cx="202356" cy="190475"/>
            <a:chOff x="4434575" y="1130550"/>
            <a:chExt cx="142712" cy="142712"/>
          </a:xfrm>
        </p:grpSpPr>
        <p:sp>
          <p:nvSpPr>
            <p:cNvPr id="414" name="Google Shape;653;p50">
              <a:extLst>
                <a:ext uri="{FF2B5EF4-FFF2-40B4-BE49-F238E27FC236}">
                  <a16:creationId xmlns:a16="http://schemas.microsoft.com/office/drawing/2014/main" id="{199CF0BF-0494-A9BE-D457-E880BA7ED402}"/>
                </a:ext>
              </a:extLst>
            </p:cNvPr>
            <p:cNvSpPr/>
            <p:nvPr/>
          </p:nvSpPr>
          <p:spPr>
            <a:xfrm>
              <a:off x="4434575" y="1130550"/>
              <a:ext cx="142712" cy="142712"/>
            </a:xfrm>
            <a:custGeom>
              <a:avLst/>
              <a:gdLst/>
              <a:ahLst/>
              <a:cxnLst/>
              <a:rect l="l" t="t" r="r" b="b"/>
              <a:pathLst>
                <a:path w="13896" h="13896" extrusionOk="0">
                  <a:moveTo>
                    <a:pt x="7371" y="834"/>
                  </a:moveTo>
                  <a:cubicBezTo>
                    <a:pt x="8192" y="893"/>
                    <a:pt x="8966" y="1096"/>
                    <a:pt x="9657" y="1441"/>
                  </a:cubicBezTo>
                  <a:lnTo>
                    <a:pt x="8978" y="2632"/>
                  </a:lnTo>
                  <a:cubicBezTo>
                    <a:pt x="8490" y="2406"/>
                    <a:pt x="7930" y="2263"/>
                    <a:pt x="7371" y="2203"/>
                  </a:cubicBezTo>
                  <a:lnTo>
                    <a:pt x="7371" y="834"/>
                  </a:lnTo>
                  <a:close/>
                  <a:moveTo>
                    <a:pt x="10359" y="1858"/>
                  </a:moveTo>
                  <a:cubicBezTo>
                    <a:pt x="11026" y="2310"/>
                    <a:pt x="11597" y="2882"/>
                    <a:pt x="12038" y="3537"/>
                  </a:cubicBezTo>
                  <a:lnTo>
                    <a:pt x="10847" y="4227"/>
                  </a:lnTo>
                  <a:cubicBezTo>
                    <a:pt x="10526" y="3763"/>
                    <a:pt x="10133" y="3358"/>
                    <a:pt x="9681" y="3048"/>
                  </a:cubicBezTo>
                  <a:lnTo>
                    <a:pt x="10359" y="1858"/>
                  </a:lnTo>
                  <a:close/>
                  <a:moveTo>
                    <a:pt x="12455" y="4251"/>
                  </a:moveTo>
                  <a:cubicBezTo>
                    <a:pt x="12800" y="4953"/>
                    <a:pt x="13026" y="5727"/>
                    <a:pt x="13074" y="6549"/>
                  </a:cubicBezTo>
                  <a:lnTo>
                    <a:pt x="11705" y="6549"/>
                  </a:lnTo>
                  <a:cubicBezTo>
                    <a:pt x="11657" y="5977"/>
                    <a:pt x="11502" y="5430"/>
                    <a:pt x="11264" y="4942"/>
                  </a:cubicBezTo>
                  <a:lnTo>
                    <a:pt x="12455" y="4251"/>
                  </a:lnTo>
                  <a:close/>
                  <a:moveTo>
                    <a:pt x="6549" y="834"/>
                  </a:moveTo>
                  <a:lnTo>
                    <a:pt x="6549" y="2203"/>
                  </a:lnTo>
                  <a:cubicBezTo>
                    <a:pt x="4108" y="2406"/>
                    <a:pt x="2192" y="4465"/>
                    <a:pt x="2192" y="6954"/>
                  </a:cubicBezTo>
                  <a:cubicBezTo>
                    <a:pt x="2192" y="7668"/>
                    <a:pt x="2334" y="8347"/>
                    <a:pt x="2632" y="8978"/>
                  </a:cubicBezTo>
                  <a:lnTo>
                    <a:pt x="1465" y="9656"/>
                  </a:lnTo>
                  <a:cubicBezTo>
                    <a:pt x="1060" y="8835"/>
                    <a:pt x="834" y="7918"/>
                    <a:pt x="834" y="6954"/>
                  </a:cubicBezTo>
                  <a:cubicBezTo>
                    <a:pt x="822" y="3703"/>
                    <a:pt x="3370" y="1060"/>
                    <a:pt x="6549" y="834"/>
                  </a:cubicBezTo>
                  <a:close/>
                  <a:moveTo>
                    <a:pt x="13074" y="7370"/>
                  </a:moveTo>
                  <a:cubicBezTo>
                    <a:pt x="13014" y="8180"/>
                    <a:pt x="12800" y="8954"/>
                    <a:pt x="12455" y="9656"/>
                  </a:cubicBezTo>
                  <a:lnTo>
                    <a:pt x="11264" y="8978"/>
                  </a:lnTo>
                  <a:cubicBezTo>
                    <a:pt x="11502" y="8478"/>
                    <a:pt x="11657" y="7930"/>
                    <a:pt x="11705" y="7370"/>
                  </a:cubicBezTo>
                  <a:close/>
                  <a:moveTo>
                    <a:pt x="6954" y="3013"/>
                  </a:moveTo>
                  <a:cubicBezTo>
                    <a:pt x="9121" y="3013"/>
                    <a:pt x="10895" y="4787"/>
                    <a:pt x="10895" y="6966"/>
                  </a:cubicBezTo>
                  <a:cubicBezTo>
                    <a:pt x="10895" y="9133"/>
                    <a:pt x="9133" y="10907"/>
                    <a:pt x="6954" y="10907"/>
                  </a:cubicBezTo>
                  <a:cubicBezTo>
                    <a:pt x="6252" y="10907"/>
                    <a:pt x="5585" y="10728"/>
                    <a:pt x="5001" y="10407"/>
                  </a:cubicBezTo>
                  <a:cubicBezTo>
                    <a:pt x="4990" y="10407"/>
                    <a:pt x="4990" y="10383"/>
                    <a:pt x="4978" y="10383"/>
                  </a:cubicBezTo>
                  <a:cubicBezTo>
                    <a:pt x="4978" y="10383"/>
                    <a:pt x="4954" y="10371"/>
                    <a:pt x="4942" y="10371"/>
                  </a:cubicBezTo>
                  <a:cubicBezTo>
                    <a:pt x="4656" y="10204"/>
                    <a:pt x="4394" y="10002"/>
                    <a:pt x="4156" y="9764"/>
                  </a:cubicBezTo>
                  <a:cubicBezTo>
                    <a:pt x="3918" y="9525"/>
                    <a:pt x="3704" y="9252"/>
                    <a:pt x="3549" y="8978"/>
                  </a:cubicBezTo>
                  <a:cubicBezTo>
                    <a:pt x="3549" y="8954"/>
                    <a:pt x="3525" y="8954"/>
                    <a:pt x="3525" y="8942"/>
                  </a:cubicBezTo>
                  <a:cubicBezTo>
                    <a:pt x="3525" y="8930"/>
                    <a:pt x="3513" y="8930"/>
                    <a:pt x="3513" y="8906"/>
                  </a:cubicBezTo>
                  <a:cubicBezTo>
                    <a:pt x="3180" y="8335"/>
                    <a:pt x="3013" y="7668"/>
                    <a:pt x="3013" y="6966"/>
                  </a:cubicBezTo>
                  <a:cubicBezTo>
                    <a:pt x="3013" y="4787"/>
                    <a:pt x="4775" y="3013"/>
                    <a:pt x="6954" y="3013"/>
                  </a:cubicBezTo>
                  <a:close/>
                  <a:moveTo>
                    <a:pt x="3037" y="9668"/>
                  </a:moveTo>
                  <a:cubicBezTo>
                    <a:pt x="3204" y="9895"/>
                    <a:pt x="3382" y="10121"/>
                    <a:pt x="3573" y="10311"/>
                  </a:cubicBezTo>
                  <a:cubicBezTo>
                    <a:pt x="3763" y="10502"/>
                    <a:pt x="3989" y="10692"/>
                    <a:pt x="4216" y="10847"/>
                  </a:cubicBezTo>
                  <a:lnTo>
                    <a:pt x="3525" y="12026"/>
                  </a:lnTo>
                  <a:cubicBezTo>
                    <a:pt x="2894" y="11609"/>
                    <a:pt x="2311" y="11026"/>
                    <a:pt x="1858" y="10359"/>
                  </a:cubicBezTo>
                  <a:lnTo>
                    <a:pt x="3037" y="9668"/>
                  </a:lnTo>
                  <a:close/>
                  <a:moveTo>
                    <a:pt x="10847" y="9668"/>
                  </a:moveTo>
                  <a:lnTo>
                    <a:pt x="12038" y="10359"/>
                  </a:lnTo>
                  <a:cubicBezTo>
                    <a:pt x="11597" y="11026"/>
                    <a:pt x="11026" y="11609"/>
                    <a:pt x="10359" y="12038"/>
                  </a:cubicBezTo>
                  <a:lnTo>
                    <a:pt x="9681" y="10847"/>
                  </a:lnTo>
                  <a:cubicBezTo>
                    <a:pt x="10133" y="10526"/>
                    <a:pt x="10538" y="10133"/>
                    <a:pt x="10847" y="9668"/>
                  </a:cubicBezTo>
                  <a:close/>
                  <a:moveTo>
                    <a:pt x="4942" y="11276"/>
                  </a:moveTo>
                  <a:cubicBezTo>
                    <a:pt x="5430" y="11502"/>
                    <a:pt x="5990" y="11657"/>
                    <a:pt x="6549" y="11692"/>
                  </a:cubicBezTo>
                  <a:lnTo>
                    <a:pt x="6549" y="13062"/>
                  </a:lnTo>
                  <a:cubicBezTo>
                    <a:pt x="5728" y="13002"/>
                    <a:pt x="4954" y="12800"/>
                    <a:pt x="4263" y="12454"/>
                  </a:cubicBezTo>
                  <a:lnTo>
                    <a:pt x="4942" y="11276"/>
                  </a:lnTo>
                  <a:close/>
                  <a:moveTo>
                    <a:pt x="8978" y="11264"/>
                  </a:moveTo>
                  <a:lnTo>
                    <a:pt x="9657" y="12454"/>
                  </a:lnTo>
                  <a:cubicBezTo>
                    <a:pt x="8954" y="12800"/>
                    <a:pt x="8192" y="13026"/>
                    <a:pt x="7371" y="13062"/>
                  </a:cubicBezTo>
                  <a:lnTo>
                    <a:pt x="7371" y="11692"/>
                  </a:lnTo>
                  <a:cubicBezTo>
                    <a:pt x="7930" y="11657"/>
                    <a:pt x="8490" y="11502"/>
                    <a:pt x="8978" y="11264"/>
                  </a:cubicBezTo>
                  <a:close/>
                  <a:moveTo>
                    <a:pt x="6954" y="0"/>
                  </a:moveTo>
                  <a:cubicBezTo>
                    <a:pt x="5085" y="0"/>
                    <a:pt x="3346" y="727"/>
                    <a:pt x="2037" y="2036"/>
                  </a:cubicBezTo>
                  <a:cubicBezTo>
                    <a:pt x="727" y="3346"/>
                    <a:pt x="1" y="5084"/>
                    <a:pt x="1" y="6954"/>
                  </a:cubicBezTo>
                  <a:cubicBezTo>
                    <a:pt x="1" y="8811"/>
                    <a:pt x="727" y="10549"/>
                    <a:pt x="2037" y="11859"/>
                  </a:cubicBezTo>
                  <a:cubicBezTo>
                    <a:pt x="3346" y="13169"/>
                    <a:pt x="5085" y="13895"/>
                    <a:pt x="6954" y="13895"/>
                  </a:cubicBezTo>
                  <a:cubicBezTo>
                    <a:pt x="8811" y="13895"/>
                    <a:pt x="10550" y="13169"/>
                    <a:pt x="11859" y="11859"/>
                  </a:cubicBezTo>
                  <a:cubicBezTo>
                    <a:pt x="13169" y="10549"/>
                    <a:pt x="13895" y="8811"/>
                    <a:pt x="13895" y="6954"/>
                  </a:cubicBezTo>
                  <a:cubicBezTo>
                    <a:pt x="13895" y="5084"/>
                    <a:pt x="13169" y="3346"/>
                    <a:pt x="11859" y="2036"/>
                  </a:cubicBezTo>
                  <a:cubicBezTo>
                    <a:pt x="10550" y="727"/>
                    <a:pt x="8811" y="0"/>
                    <a:pt x="695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654;p50">
              <a:extLst>
                <a:ext uri="{FF2B5EF4-FFF2-40B4-BE49-F238E27FC236}">
                  <a16:creationId xmlns:a16="http://schemas.microsoft.com/office/drawing/2014/main" id="{7ADF18C3-D7B4-5BA7-D057-9F228C05E61F}"/>
                </a:ext>
              </a:extLst>
            </p:cNvPr>
            <p:cNvSpPr/>
            <p:nvPr/>
          </p:nvSpPr>
          <p:spPr>
            <a:xfrm>
              <a:off x="4485447" y="1181977"/>
              <a:ext cx="40854" cy="40176"/>
            </a:xfrm>
            <a:custGeom>
              <a:avLst/>
              <a:gdLst/>
              <a:ahLst/>
              <a:cxnLst/>
              <a:rect l="l" t="t" r="r" b="b"/>
              <a:pathLst>
                <a:path w="3978" h="3912" extrusionOk="0">
                  <a:moveTo>
                    <a:pt x="3540" y="0"/>
                  </a:moveTo>
                  <a:cubicBezTo>
                    <a:pt x="3439" y="0"/>
                    <a:pt x="3335" y="42"/>
                    <a:pt x="3251" y="125"/>
                  </a:cubicBezTo>
                  <a:lnTo>
                    <a:pt x="167" y="3209"/>
                  </a:lnTo>
                  <a:cubicBezTo>
                    <a:pt x="1" y="3375"/>
                    <a:pt x="1" y="3625"/>
                    <a:pt x="167" y="3792"/>
                  </a:cubicBezTo>
                  <a:cubicBezTo>
                    <a:pt x="239" y="3864"/>
                    <a:pt x="346" y="3911"/>
                    <a:pt x="453" y="3911"/>
                  </a:cubicBezTo>
                  <a:cubicBezTo>
                    <a:pt x="560" y="3911"/>
                    <a:pt x="656" y="3864"/>
                    <a:pt x="739" y="3792"/>
                  </a:cubicBezTo>
                  <a:lnTo>
                    <a:pt x="3811" y="708"/>
                  </a:lnTo>
                  <a:cubicBezTo>
                    <a:pt x="3977" y="542"/>
                    <a:pt x="3977" y="292"/>
                    <a:pt x="3811" y="125"/>
                  </a:cubicBezTo>
                  <a:cubicBezTo>
                    <a:pt x="3739" y="42"/>
                    <a:pt x="3641" y="0"/>
                    <a:pt x="354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655;p50">
              <a:extLst>
                <a:ext uri="{FF2B5EF4-FFF2-40B4-BE49-F238E27FC236}">
                  <a16:creationId xmlns:a16="http://schemas.microsoft.com/office/drawing/2014/main" id="{6D1D026E-FF59-4F4C-2463-F8A973F91D28}"/>
                </a:ext>
              </a:extLst>
            </p:cNvPr>
            <p:cNvSpPr/>
            <p:nvPr/>
          </p:nvSpPr>
          <p:spPr>
            <a:xfrm>
              <a:off x="4514555" y="1210530"/>
              <a:ext cx="8206" cy="8195"/>
            </a:xfrm>
            <a:custGeom>
              <a:avLst/>
              <a:gdLst/>
              <a:ahLst/>
              <a:cxnLst/>
              <a:rect l="l" t="t" r="r" b="b"/>
              <a:pathLst>
                <a:path w="799" h="798" extrusionOk="0">
                  <a:moveTo>
                    <a:pt x="405" y="0"/>
                  </a:moveTo>
                  <a:cubicBezTo>
                    <a:pt x="298" y="0"/>
                    <a:pt x="191" y="36"/>
                    <a:pt x="120" y="119"/>
                  </a:cubicBezTo>
                  <a:cubicBezTo>
                    <a:pt x="48" y="191"/>
                    <a:pt x="0" y="298"/>
                    <a:pt x="0" y="393"/>
                  </a:cubicBezTo>
                  <a:cubicBezTo>
                    <a:pt x="0" y="500"/>
                    <a:pt x="48" y="607"/>
                    <a:pt x="120" y="679"/>
                  </a:cubicBezTo>
                  <a:cubicBezTo>
                    <a:pt x="191" y="750"/>
                    <a:pt x="298" y="798"/>
                    <a:pt x="405" y="798"/>
                  </a:cubicBezTo>
                  <a:cubicBezTo>
                    <a:pt x="501" y="798"/>
                    <a:pt x="608" y="750"/>
                    <a:pt x="679" y="679"/>
                  </a:cubicBezTo>
                  <a:cubicBezTo>
                    <a:pt x="751" y="607"/>
                    <a:pt x="798" y="500"/>
                    <a:pt x="798" y="393"/>
                  </a:cubicBezTo>
                  <a:cubicBezTo>
                    <a:pt x="798" y="298"/>
                    <a:pt x="751" y="191"/>
                    <a:pt x="679" y="119"/>
                  </a:cubicBezTo>
                  <a:cubicBezTo>
                    <a:pt x="608" y="36"/>
                    <a:pt x="501" y="0"/>
                    <a:pt x="40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656;p50">
              <a:extLst>
                <a:ext uri="{FF2B5EF4-FFF2-40B4-BE49-F238E27FC236}">
                  <a16:creationId xmlns:a16="http://schemas.microsoft.com/office/drawing/2014/main" id="{BD8669A8-45E5-3F77-5DE5-E693CCDDB847}"/>
                </a:ext>
              </a:extLst>
            </p:cNvPr>
            <p:cNvSpPr/>
            <p:nvPr/>
          </p:nvSpPr>
          <p:spPr>
            <a:xfrm>
              <a:off x="4489114" y="1185212"/>
              <a:ext cx="8329" cy="8329"/>
            </a:xfrm>
            <a:custGeom>
              <a:avLst/>
              <a:gdLst/>
              <a:ahLst/>
              <a:cxnLst/>
              <a:rect l="l" t="t" r="r" b="b"/>
              <a:pathLst>
                <a:path w="811" h="811" extrusionOk="0">
                  <a:moveTo>
                    <a:pt x="406" y="1"/>
                  </a:moveTo>
                  <a:cubicBezTo>
                    <a:pt x="299" y="1"/>
                    <a:pt x="203" y="48"/>
                    <a:pt x="120" y="120"/>
                  </a:cubicBezTo>
                  <a:cubicBezTo>
                    <a:pt x="49" y="203"/>
                    <a:pt x="1" y="298"/>
                    <a:pt x="1" y="405"/>
                  </a:cubicBezTo>
                  <a:cubicBezTo>
                    <a:pt x="1" y="513"/>
                    <a:pt x="49" y="620"/>
                    <a:pt x="120" y="691"/>
                  </a:cubicBezTo>
                  <a:cubicBezTo>
                    <a:pt x="203" y="763"/>
                    <a:pt x="299" y="810"/>
                    <a:pt x="406" y="810"/>
                  </a:cubicBezTo>
                  <a:cubicBezTo>
                    <a:pt x="513" y="810"/>
                    <a:pt x="620" y="763"/>
                    <a:pt x="692" y="691"/>
                  </a:cubicBezTo>
                  <a:cubicBezTo>
                    <a:pt x="763" y="620"/>
                    <a:pt x="811" y="513"/>
                    <a:pt x="811" y="405"/>
                  </a:cubicBezTo>
                  <a:cubicBezTo>
                    <a:pt x="811" y="298"/>
                    <a:pt x="763" y="203"/>
                    <a:pt x="692" y="120"/>
                  </a:cubicBezTo>
                  <a:cubicBezTo>
                    <a:pt x="620" y="48"/>
                    <a:pt x="513" y="1"/>
                    <a:pt x="40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18" name="Google Shape;657;p50">
            <a:extLst>
              <a:ext uri="{FF2B5EF4-FFF2-40B4-BE49-F238E27FC236}">
                <a16:creationId xmlns:a16="http://schemas.microsoft.com/office/drawing/2014/main" id="{9CDE1870-CA8E-591A-D2CE-64487EE98408}"/>
              </a:ext>
            </a:extLst>
          </p:cNvPr>
          <p:cNvGrpSpPr/>
          <p:nvPr/>
        </p:nvGrpSpPr>
        <p:grpSpPr>
          <a:xfrm>
            <a:off x="8855457" y="1830830"/>
            <a:ext cx="202318" cy="190290"/>
            <a:chOff x="5714500" y="1130625"/>
            <a:chExt cx="142686" cy="142573"/>
          </a:xfrm>
        </p:grpSpPr>
        <p:sp>
          <p:nvSpPr>
            <p:cNvPr id="419" name="Google Shape;658;p50">
              <a:extLst>
                <a:ext uri="{FF2B5EF4-FFF2-40B4-BE49-F238E27FC236}">
                  <a16:creationId xmlns:a16="http://schemas.microsoft.com/office/drawing/2014/main" id="{1B21B4FD-12AA-2723-CD01-A570C12053A8}"/>
                </a:ext>
              </a:extLst>
            </p:cNvPr>
            <p:cNvSpPr/>
            <p:nvPr/>
          </p:nvSpPr>
          <p:spPr>
            <a:xfrm>
              <a:off x="5747971" y="1152861"/>
              <a:ext cx="75503" cy="75503"/>
            </a:xfrm>
            <a:custGeom>
              <a:avLst/>
              <a:gdLst/>
              <a:ahLst/>
              <a:cxnLst/>
              <a:rect l="l" t="t" r="r" b="b"/>
              <a:pathLst>
                <a:path w="7359" h="7359" extrusionOk="0">
                  <a:moveTo>
                    <a:pt x="3680" y="822"/>
                  </a:moveTo>
                  <a:cubicBezTo>
                    <a:pt x="5251" y="822"/>
                    <a:pt x="6537" y="2096"/>
                    <a:pt x="6537" y="3679"/>
                  </a:cubicBezTo>
                  <a:cubicBezTo>
                    <a:pt x="6537" y="5251"/>
                    <a:pt x="5251" y="6537"/>
                    <a:pt x="3680" y="6537"/>
                  </a:cubicBezTo>
                  <a:cubicBezTo>
                    <a:pt x="2096" y="6537"/>
                    <a:pt x="822" y="5251"/>
                    <a:pt x="822" y="3679"/>
                  </a:cubicBezTo>
                  <a:cubicBezTo>
                    <a:pt x="822" y="2096"/>
                    <a:pt x="2096" y="822"/>
                    <a:pt x="3680" y="822"/>
                  </a:cubicBezTo>
                  <a:close/>
                  <a:moveTo>
                    <a:pt x="3680" y="0"/>
                  </a:moveTo>
                  <a:cubicBezTo>
                    <a:pt x="1656" y="0"/>
                    <a:pt x="1" y="1655"/>
                    <a:pt x="1" y="3679"/>
                  </a:cubicBezTo>
                  <a:cubicBezTo>
                    <a:pt x="1" y="5704"/>
                    <a:pt x="1656" y="7359"/>
                    <a:pt x="3680" y="7359"/>
                  </a:cubicBezTo>
                  <a:cubicBezTo>
                    <a:pt x="5704" y="7359"/>
                    <a:pt x="7359" y="5704"/>
                    <a:pt x="7359" y="3679"/>
                  </a:cubicBezTo>
                  <a:cubicBezTo>
                    <a:pt x="7359" y="1655"/>
                    <a:pt x="5704" y="0"/>
                    <a:pt x="368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659;p50">
              <a:extLst>
                <a:ext uri="{FF2B5EF4-FFF2-40B4-BE49-F238E27FC236}">
                  <a16:creationId xmlns:a16="http://schemas.microsoft.com/office/drawing/2014/main" id="{066951FB-566D-8EB7-201A-1EC3C5B904EE}"/>
                </a:ext>
              </a:extLst>
            </p:cNvPr>
            <p:cNvSpPr/>
            <p:nvPr/>
          </p:nvSpPr>
          <p:spPr>
            <a:xfrm>
              <a:off x="5764829" y="1186455"/>
              <a:ext cx="41789" cy="25055"/>
            </a:xfrm>
            <a:custGeom>
              <a:avLst/>
              <a:gdLst/>
              <a:ahLst/>
              <a:cxnLst/>
              <a:rect l="l" t="t" r="r" b="b"/>
              <a:pathLst>
                <a:path w="4073" h="2442" extrusionOk="0">
                  <a:moveTo>
                    <a:pt x="3192" y="822"/>
                  </a:moveTo>
                  <a:cubicBezTo>
                    <a:pt x="3037" y="1298"/>
                    <a:pt x="2573" y="1644"/>
                    <a:pt x="2037" y="1644"/>
                  </a:cubicBezTo>
                  <a:cubicBezTo>
                    <a:pt x="1501" y="1644"/>
                    <a:pt x="1037" y="1298"/>
                    <a:pt x="870" y="822"/>
                  </a:cubicBezTo>
                  <a:close/>
                  <a:moveTo>
                    <a:pt x="394" y="1"/>
                  </a:moveTo>
                  <a:cubicBezTo>
                    <a:pt x="179" y="1"/>
                    <a:pt x="1" y="179"/>
                    <a:pt x="1" y="405"/>
                  </a:cubicBezTo>
                  <a:cubicBezTo>
                    <a:pt x="1" y="1537"/>
                    <a:pt x="906" y="2441"/>
                    <a:pt x="2037" y="2441"/>
                  </a:cubicBezTo>
                  <a:cubicBezTo>
                    <a:pt x="3168" y="2441"/>
                    <a:pt x="4073" y="1525"/>
                    <a:pt x="4073" y="405"/>
                  </a:cubicBezTo>
                  <a:cubicBezTo>
                    <a:pt x="4073" y="179"/>
                    <a:pt x="3894" y="1"/>
                    <a:pt x="366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1" name="Google Shape;660;p50">
              <a:extLst>
                <a:ext uri="{FF2B5EF4-FFF2-40B4-BE49-F238E27FC236}">
                  <a16:creationId xmlns:a16="http://schemas.microsoft.com/office/drawing/2014/main" id="{78F92425-8889-BD88-B2E5-16FBE3DCFD6D}"/>
                </a:ext>
              </a:extLst>
            </p:cNvPr>
            <p:cNvSpPr/>
            <p:nvPr/>
          </p:nvSpPr>
          <p:spPr>
            <a:xfrm>
              <a:off x="5792689" y="1172038"/>
              <a:ext cx="8321" cy="8198"/>
            </a:xfrm>
            <a:custGeom>
              <a:avLst/>
              <a:gdLst/>
              <a:ahLst/>
              <a:cxnLst/>
              <a:rect l="l" t="t" r="r" b="b"/>
              <a:pathLst>
                <a:path w="811" h="799" extrusionOk="0">
                  <a:moveTo>
                    <a:pt x="405" y="1"/>
                  </a:moveTo>
                  <a:cubicBezTo>
                    <a:pt x="298" y="1"/>
                    <a:pt x="191" y="36"/>
                    <a:pt x="120" y="120"/>
                  </a:cubicBezTo>
                  <a:cubicBezTo>
                    <a:pt x="48" y="191"/>
                    <a:pt x="0" y="298"/>
                    <a:pt x="0" y="394"/>
                  </a:cubicBezTo>
                  <a:cubicBezTo>
                    <a:pt x="0" y="501"/>
                    <a:pt x="48" y="608"/>
                    <a:pt x="120" y="679"/>
                  </a:cubicBezTo>
                  <a:cubicBezTo>
                    <a:pt x="191" y="751"/>
                    <a:pt x="298" y="798"/>
                    <a:pt x="405" y="798"/>
                  </a:cubicBezTo>
                  <a:cubicBezTo>
                    <a:pt x="512" y="798"/>
                    <a:pt x="620" y="751"/>
                    <a:pt x="691" y="679"/>
                  </a:cubicBezTo>
                  <a:cubicBezTo>
                    <a:pt x="762" y="608"/>
                    <a:pt x="810" y="501"/>
                    <a:pt x="810" y="394"/>
                  </a:cubicBezTo>
                  <a:cubicBezTo>
                    <a:pt x="810" y="298"/>
                    <a:pt x="762" y="191"/>
                    <a:pt x="691" y="120"/>
                  </a:cubicBezTo>
                  <a:cubicBezTo>
                    <a:pt x="620" y="36"/>
                    <a:pt x="512" y="1"/>
                    <a:pt x="40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661;p50">
              <a:extLst>
                <a:ext uri="{FF2B5EF4-FFF2-40B4-BE49-F238E27FC236}">
                  <a16:creationId xmlns:a16="http://schemas.microsoft.com/office/drawing/2014/main" id="{7112B4D5-AE0C-EF8A-9AE0-7C73B10C07AB}"/>
                </a:ext>
              </a:extLst>
            </p:cNvPr>
            <p:cNvSpPr/>
            <p:nvPr/>
          </p:nvSpPr>
          <p:spPr>
            <a:xfrm>
              <a:off x="5770453" y="1172038"/>
              <a:ext cx="8198" cy="8198"/>
            </a:xfrm>
            <a:custGeom>
              <a:avLst/>
              <a:gdLst/>
              <a:ahLst/>
              <a:cxnLst/>
              <a:rect l="l" t="t" r="r" b="b"/>
              <a:pathLst>
                <a:path w="799" h="799" extrusionOk="0">
                  <a:moveTo>
                    <a:pt x="405" y="1"/>
                  </a:moveTo>
                  <a:cubicBezTo>
                    <a:pt x="298" y="1"/>
                    <a:pt x="191" y="36"/>
                    <a:pt x="120" y="120"/>
                  </a:cubicBezTo>
                  <a:cubicBezTo>
                    <a:pt x="48" y="191"/>
                    <a:pt x="1" y="298"/>
                    <a:pt x="1" y="394"/>
                  </a:cubicBezTo>
                  <a:cubicBezTo>
                    <a:pt x="1" y="501"/>
                    <a:pt x="48" y="608"/>
                    <a:pt x="120" y="679"/>
                  </a:cubicBezTo>
                  <a:cubicBezTo>
                    <a:pt x="191" y="751"/>
                    <a:pt x="298" y="798"/>
                    <a:pt x="405" y="798"/>
                  </a:cubicBezTo>
                  <a:cubicBezTo>
                    <a:pt x="501" y="798"/>
                    <a:pt x="608" y="751"/>
                    <a:pt x="679" y="679"/>
                  </a:cubicBezTo>
                  <a:cubicBezTo>
                    <a:pt x="763" y="608"/>
                    <a:pt x="798" y="501"/>
                    <a:pt x="798" y="394"/>
                  </a:cubicBezTo>
                  <a:cubicBezTo>
                    <a:pt x="798" y="298"/>
                    <a:pt x="763" y="191"/>
                    <a:pt x="679" y="120"/>
                  </a:cubicBezTo>
                  <a:cubicBezTo>
                    <a:pt x="608" y="36"/>
                    <a:pt x="501" y="1"/>
                    <a:pt x="40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662;p50">
              <a:extLst>
                <a:ext uri="{FF2B5EF4-FFF2-40B4-BE49-F238E27FC236}">
                  <a16:creationId xmlns:a16="http://schemas.microsoft.com/office/drawing/2014/main" id="{09DC74CE-AA2E-7090-CE41-C47618F1B40F}"/>
                </a:ext>
              </a:extLst>
            </p:cNvPr>
            <p:cNvSpPr/>
            <p:nvPr/>
          </p:nvSpPr>
          <p:spPr>
            <a:xfrm>
              <a:off x="5714500" y="1130625"/>
              <a:ext cx="142686" cy="142573"/>
            </a:xfrm>
            <a:custGeom>
              <a:avLst/>
              <a:gdLst/>
              <a:ahLst/>
              <a:cxnLst/>
              <a:rect l="l" t="t" r="r" b="b"/>
              <a:pathLst>
                <a:path w="13907" h="13896" extrusionOk="0">
                  <a:moveTo>
                    <a:pt x="12407" y="810"/>
                  </a:moveTo>
                  <a:cubicBezTo>
                    <a:pt x="12776" y="810"/>
                    <a:pt x="13085" y="1132"/>
                    <a:pt x="13085" y="1501"/>
                  </a:cubicBezTo>
                  <a:lnTo>
                    <a:pt x="13085" y="10228"/>
                  </a:lnTo>
                  <a:cubicBezTo>
                    <a:pt x="13085" y="10597"/>
                    <a:pt x="12776" y="10907"/>
                    <a:pt x="12407" y="10907"/>
                  </a:cubicBezTo>
                  <a:lnTo>
                    <a:pt x="8037" y="10907"/>
                  </a:lnTo>
                  <a:cubicBezTo>
                    <a:pt x="7894" y="10907"/>
                    <a:pt x="7740" y="11002"/>
                    <a:pt x="7680" y="11133"/>
                  </a:cubicBezTo>
                  <a:lnTo>
                    <a:pt x="6954" y="12585"/>
                  </a:lnTo>
                  <a:lnTo>
                    <a:pt x="6227" y="11133"/>
                  </a:lnTo>
                  <a:cubicBezTo>
                    <a:pt x="6156" y="11002"/>
                    <a:pt x="6013" y="10907"/>
                    <a:pt x="5870" y="10907"/>
                  </a:cubicBezTo>
                  <a:lnTo>
                    <a:pt x="1513" y="10907"/>
                  </a:lnTo>
                  <a:cubicBezTo>
                    <a:pt x="1132" y="10907"/>
                    <a:pt x="822" y="10597"/>
                    <a:pt x="822" y="10228"/>
                  </a:cubicBezTo>
                  <a:lnTo>
                    <a:pt x="822" y="1501"/>
                  </a:lnTo>
                  <a:cubicBezTo>
                    <a:pt x="822" y="1132"/>
                    <a:pt x="1132" y="810"/>
                    <a:pt x="1513" y="810"/>
                  </a:cubicBezTo>
                  <a:close/>
                  <a:moveTo>
                    <a:pt x="1513" y="1"/>
                  </a:moveTo>
                  <a:cubicBezTo>
                    <a:pt x="679" y="1"/>
                    <a:pt x="0" y="667"/>
                    <a:pt x="0" y="1501"/>
                  </a:cubicBezTo>
                  <a:lnTo>
                    <a:pt x="0" y="10228"/>
                  </a:lnTo>
                  <a:cubicBezTo>
                    <a:pt x="0" y="11061"/>
                    <a:pt x="679" y="11728"/>
                    <a:pt x="1513" y="11728"/>
                  </a:cubicBezTo>
                  <a:lnTo>
                    <a:pt x="5620" y="11728"/>
                  </a:lnTo>
                  <a:lnTo>
                    <a:pt x="6597" y="13681"/>
                  </a:lnTo>
                  <a:cubicBezTo>
                    <a:pt x="6668" y="13812"/>
                    <a:pt x="6811" y="13895"/>
                    <a:pt x="6954" y="13895"/>
                  </a:cubicBezTo>
                  <a:cubicBezTo>
                    <a:pt x="7109" y="13895"/>
                    <a:pt x="7251" y="13812"/>
                    <a:pt x="7311" y="13681"/>
                  </a:cubicBezTo>
                  <a:lnTo>
                    <a:pt x="8299" y="11728"/>
                  </a:lnTo>
                  <a:lnTo>
                    <a:pt x="12407" y="11728"/>
                  </a:lnTo>
                  <a:cubicBezTo>
                    <a:pt x="13240" y="11728"/>
                    <a:pt x="13907" y="11061"/>
                    <a:pt x="13907" y="10228"/>
                  </a:cubicBezTo>
                  <a:lnTo>
                    <a:pt x="13907" y="1501"/>
                  </a:lnTo>
                  <a:cubicBezTo>
                    <a:pt x="13895" y="667"/>
                    <a:pt x="13216" y="1"/>
                    <a:pt x="12407"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4" name="Google Shape;666;p50">
            <a:extLst>
              <a:ext uri="{FF2B5EF4-FFF2-40B4-BE49-F238E27FC236}">
                <a16:creationId xmlns:a16="http://schemas.microsoft.com/office/drawing/2014/main" id="{0EE55FF2-AC0F-455C-7B21-C4EA05C36EDF}"/>
              </a:ext>
            </a:extLst>
          </p:cNvPr>
          <p:cNvGrpSpPr/>
          <p:nvPr/>
        </p:nvGrpSpPr>
        <p:grpSpPr>
          <a:xfrm>
            <a:off x="5047921" y="3903508"/>
            <a:ext cx="202302" cy="190425"/>
            <a:chOff x="2945150" y="2597900"/>
            <a:chExt cx="142674" cy="142674"/>
          </a:xfrm>
        </p:grpSpPr>
        <p:sp>
          <p:nvSpPr>
            <p:cNvPr id="425" name="Google Shape;667;p50">
              <a:extLst>
                <a:ext uri="{FF2B5EF4-FFF2-40B4-BE49-F238E27FC236}">
                  <a16:creationId xmlns:a16="http://schemas.microsoft.com/office/drawing/2014/main" id="{0481F4D3-F1B7-DB16-C954-1EE0BCD6E515}"/>
                </a:ext>
              </a:extLst>
            </p:cNvPr>
            <p:cNvSpPr/>
            <p:nvPr/>
          </p:nvSpPr>
          <p:spPr>
            <a:xfrm>
              <a:off x="2945150" y="2597900"/>
              <a:ext cx="142674" cy="142674"/>
            </a:xfrm>
            <a:custGeom>
              <a:avLst/>
              <a:gdLst/>
              <a:ahLst/>
              <a:cxnLst/>
              <a:rect l="l" t="t" r="r" b="b"/>
              <a:pathLst>
                <a:path w="13872" h="13872" extrusionOk="0">
                  <a:moveTo>
                    <a:pt x="5858" y="810"/>
                  </a:moveTo>
                  <a:cubicBezTo>
                    <a:pt x="8632" y="810"/>
                    <a:pt x="10895" y="3072"/>
                    <a:pt x="10895" y="5846"/>
                  </a:cubicBezTo>
                  <a:cubicBezTo>
                    <a:pt x="10895" y="8632"/>
                    <a:pt x="8632" y="10895"/>
                    <a:pt x="5858" y="10895"/>
                  </a:cubicBezTo>
                  <a:cubicBezTo>
                    <a:pt x="3072" y="10895"/>
                    <a:pt x="810" y="8632"/>
                    <a:pt x="810" y="5846"/>
                  </a:cubicBezTo>
                  <a:cubicBezTo>
                    <a:pt x="810" y="3072"/>
                    <a:pt x="3072" y="810"/>
                    <a:pt x="5858" y="810"/>
                  </a:cubicBezTo>
                  <a:close/>
                  <a:moveTo>
                    <a:pt x="10442" y="9478"/>
                  </a:moveTo>
                  <a:lnTo>
                    <a:pt x="12859" y="11907"/>
                  </a:lnTo>
                  <a:cubicBezTo>
                    <a:pt x="13002" y="12038"/>
                    <a:pt x="13050" y="12204"/>
                    <a:pt x="13050" y="12383"/>
                  </a:cubicBezTo>
                  <a:cubicBezTo>
                    <a:pt x="13050" y="12561"/>
                    <a:pt x="13002" y="12740"/>
                    <a:pt x="12859" y="12871"/>
                  </a:cubicBezTo>
                  <a:cubicBezTo>
                    <a:pt x="12728" y="13008"/>
                    <a:pt x="12553" y="13076"/>
                    <a:pt x="12377" y="13076"/>
                  </a:cubicBezTo>
                  <a:cubicBezTo>
                    <a:pt x="12201" y="13076"/>
                    <a:pt x="12026" y="13008"/>
                    <a:pt x="11895" y="12871"/>
                  </a:cubicBezTo>
                  <a:lnTo>
                    <a:pt x="9466" y="10454"/>
                  </a:lnTo>
                  <a:cubicBezTo>
                    <a:pt x="9644" y="10311"/>
                    <a:pt x="9811" y="10156"/>
                    <a:pt x="9978" y="9990"/>
                  </a:cubicBezTo>
                  <a:cubicBezTo>
                    <a:pt x="10145" y="9823"/>
                    <a:pt x="10287" y="9656"/>
                    <a:pt x="10442" y="9478"/>
                  </a:cubicBezTo>
                  <a:close/>
                  <a:moveTo>
                    <a:pt x="5858" y="0"/>
                  </a:moveTo>
                  <a:cubicBezTo>
                    <a:pt x="4287" y="0"/>
                    <a:pt x="2822" y="608"/>
                    <a:pt x="1715" y="1715"/>
                  </a:cubicBezTo>
                  <a:cubicBezTo>
                    <a:pt x="620" y="2810"/>
                    <a:pt x="0" y="4287"/>
                    <a:pt x="0" y="5846"/>
                  </a:cubicBezTo>
                  <a:cubicBezTo>
                    <a:pt x="0" y="7418"/>
                    <a:pt x="620" y="8882"/>
                    <a:pt x="1715" y="9990"/>
                  </a:cubicBezTo>
                  <a:cubicBezTo>
                    <a:pt x="2822" y="11085"/>
                    <a:pt x="4287" y="11704"/>
                    <a:pt x="5858" y="11704"/>
                  </a:cubicBezTo>
                  <a:cubicBezTo>
                    <a:pt x="6906" y="11704"/>
                    <a:pt x="7906" y="11418"/>
                    <a:pt x="8799" y="10906"/>
                  </a:cubicBezTo>
                  <a:lnTo>
                    <a:pt x="11335" y="13443"/>
                  </a:lnTo>
                  <a:cubicBezTo>
                    <a:pt x="11633" y="13740"/>
                    <a:pt x="12002" y="13871"/>
                    <a:pt x="12383" y="13871"/>
                  </a:cubicBezTo>
                  <a:cubicBezTo>
                    <a:pt x="12776" y="13871"/>
                    <a:pt x="13145" y="13728"/>
                    <a:pt x="13443" y="13443"/>
                  </a:cubicBezTo>
                  <a:cubicBezTo>
                    <a:pt x="13728" y="13157"/>
                    <a:pt x="13871" y="12788"/>
                    <a:pt x="13871" y="12383"/>
                  </a:cubicBezTo>
                  <a:cubicBezTo>
                    <a:pt x="13871" y="12002"/>
                    <a:pt x="13728" y="11609"/>
                    <a:pt x="13443" y="11323"/>
                  </a:cubicBezTo>
                  <a:lnTo>
                    <a:pt x="10918" y="8799"/>
                  </a:lnTo>
                  <a:cubicBezTo>
                    <a:pt x="11430" y="7918"/>
                    <a:pt x="11704" y="6906"/>
                    <a:pt x="11704" y="5846"/>
                  </a:cubicBezTo>
                  <a:cubicBezTo>
                    <a:pt x="11704" y="4287"/>
                    <a:pt x="11097" y="2810"/>
                    <a:pt x="9990" y="1715"/>
                  </a:cubicBezTo>
                  <a:cubicBezTo>
                    <a:pt x="8894" y="608"/>
                    <a:pt x="7418" y="0"/>
                    <a:pt x="58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6" name="Google Shape;668;p50">
              <a:extLst>
                <a:ext uri="{FF2B5EF4-FFF2-40B4-BE49-F238E27FC236}">
                  <a16:creationId xmlns:a16="http://schemas.microsoft.com/office/drawing/2014/main" id="{A21645D6-B877-2883-D0AD-DAE8322E7BD4}"/>
                </a:ext>
              </a:extLst>
            </p:cNvPr>
            <p:cNvSpPr/>
            <p:nvPr/>
          </p:nvSpPr>
          <p:spPr>
            <a:xfrm>
              <a:off x="2967563" y="2620313"/>
              <a:ext cx="75564" cy="75564"/>
            </a:xfrm>
            <a:custGeom>
              <a:avLst/>
              <a:gdLst/>
              <a:ahLst/>
              <a:cxnLst/>
              <a:rect l="l" t="t" r="r" b="b"/>
              <a:pathLst>
                <a:path w="7347" h="7347" extrusionOk="0">
                  <a:moveTo>
                    <a:pt x="3679" y="810"/>
                  </a:moveTo>
                  <a:cubicBezTo>
                    <a:pt x="5251" y="810"/>
                    <a:pt x="6537" y="2096"/>
                    <a:pt x="6537" y="3667"/>
                  </a:cubicBezTo>
                  <a:cubicBezTo>
                    <a:pt x="6537" y="5251"/>
                    <a:pt x="5251" y="6525"/>
                    <a:pt x="3679" y="6525"/>
                  </a:cubicBezTo>
                  <a:cubicBezTo>
                    <a:pt x="2096" y="6525"/>
                    <a:pt x="822" y="5251"/>
                    <a:pt x="822" y="3667"/>
                  </a:cubicBezTo>
                  <a:cubicBezTo>
                    <a:pt x="822" y="2096"/>
                    <a:pt x="2096" y="810"/>
                    <a:pt x="3679" y="810"/>
                  </a:cubicBezTo>
                  <a:close/>
                  <a:moveTo>
                    <a:pt x="3679" y="0"/>
                  </a:moveTo>
                  <a:cubicBezTo>
                    <a:pt x="1655" y="0"/>
                    <a:pt x="0" y="1643"/>
                    <a:pt x="0" y="3667"/>
                  </a:cubicBezTo>
                  <a:cubicBezTo>
                    <a:pt x="0" y="5691"/>
                    <a:pt x="1655" y="7346"/>
                    <a:pt x="3679" y="7346"/>
                  </a:cubicBezTo>
                  <a:cubicBezTo>
                    <a:pt x="5703" y="7346"/>
                    <a:pt x="7346" y="5691"/>
                    <a:pt x="7346" y="3667"/>
                  </a:cubicBezTo>
                  <a:cubicBezTo>
                    <a:pt x="7334" y="1643"/>
                    <a:pt x="5703" y="0"/>
                    <a:pt x="367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669;p50">
              <a:extLst>
                <a:ext uri="{FF2B5EF4-FFF2-40B4-BE49-F238E27FC236}">
                  <a16:creationId xmlns:a16="http://schemas.microsoft.com/office/drawing/2014/main" id="{AC485BC0-F54B-A255-962B-BB02A86027D3}"/>
                </a:ext>
              </a:extLst>
            </p:cNvPr>
            <p:cNvSpPr/>
            <p:nvPr/>
          </p:nvSpPr>
          <p:spPr>
            <a:xfrm>
              <a:off x="2986540" y="2642962"/>
              <a:ext cx="37602" cy="32830"/>
            </a:xfrm>
            <a:custGeom>
              <a:avLst/>
              <a:gdLst/>
              <a:ahLst/>
              <a:cxnLst/>
              <a:rect l="l" t="t" r="r" b="b"/>
              <a:pathLst>
                <a:path w="3656" h="3192" extrusionOk="0">
                  <a:moveTo>
                    <a:pt x="2382" y="811"/>
                  </a:moveTo>
                  <a:cubicBezTo>
                    <a:pt x="2465" y="811"/>
                    <a:pt x="2572" y="858"/>
                    <a:pt x="2632" y="918"/>
                  </a:cubicBezTo>
                  <a:cubicBezTo>
                    <a:pt x="2751" y="1049"/>
                    <a:pt x="2751" y="1287"/>
                    <a:pt x="2620" y="1430"/>
                  </a:cubicBezTo>
                  <a:lnTo>
                    <a:pt x="1834" y="2215"/>
                  </a:lnTo>
                  <a:lnTo>
                    <a:pt x="1037" y="1430"/>
                  </a:lnTo>
                  <a:cubicBezTo>
                    <a:pt x="906" y="1287"/>
                    <a:pt x="906" y="1049"/>
                    <a:pt x="1037" y="918"/>
                  </a:cubicBezTo>
                  <a:cubicBezTo>
                    <a:pt x="1120" y="846"/>
                    <a:pt x="1203" y="811"/>
                    <a:pt x="1298" y="811"/>
                  </a:cubicBezTo>
                  <a:cubicBezTo>
                    <a:pt x="1382" y="811"/>
                    <a:pt x="1489" y="858"/>
                    <a:pt x="1549" y="918"/>
                  </a:cubicBezTo>
                  <a:cubicBezTo>
                    <a:pt x="1632" y="1001"/>
                    <a:pt x="1736" y="1043"/>
                    <a:pt x="1840" y="1043"/>
                  </a:cubicBezTo>
                  <a:cubicBezTo>
                    <a:pt x="1944" y="1043"/>
                    <a:pt x="2049" y="1001"/>
                    <a:pt x="2132" y="918"/>
                  </a:cubicBezTo>
                  <a:cubicBezTo>
                    <a:pt x="2203" y="846"/>
                    <a:pt x="2287" y="811"/>
                    <a:pt x="2382" y="811"/>
                  </a:cubicBezTo>
                  <a:close/>
                  <a:moveTo>
                    <a:pt x="1287" y="1"/>
                  </a:moveTo>
                  <a:cubicBezTo>
                    <a:pt x="977" y="1"/>
                    <a:pt x="679" y="120"/>
                    <a:pt x="453" y="334"/>
                  </a:cubicBezTo>
                  <a:cubicBezTo>
                    <a:pt x="1" y="799"/>
                    <a:pt x="1" y="1549"/>
                    <a:pt x="453" y="1989"/>
                  </a:cubicBezTo>
                  <a:lnTo>
                    <a:pt x="1549" y="3073"/>
                  </a:lnTo>
                  <a:cubicBezTo>
                    <a:pt x="1620" y="3156"/>
                    <a:pt x="1727" y="3192"/>
                    <a:pt x="1822" y="3192"/>
                  </a:cubicBezTo>
                  <a:cubicBezTo>
                    <a:pt x="1930" y="3192"/>
                    <a:pt x="2037" y="3156"/>
                    <a:pt x="2108" y="3073"/>
                  </a:cubicBezTo>
                  <a:lnTo>
                    <a:pt x="3192" y="1989"/>
                  </a:lnTo>
                  <a:cubicBezTo>
                    <a:pt x="3656" y="1525"/>
                    <a:pt x="3656" y="787"/>
                    <a:pt x="3192" y="334"/>
                  </a:cubicBezTo>
                  <a:cubicBezTo>
                    <a:pt x="2977" y="132"/>
                    <a:pt x="2680" y="1"/>
                    <a:pt x="2370" y="1"/>
                  </a:cubicBezTo>
                  <a:cubicBezTo>
                    <a:pt x="2168" y="1"/>
                    <a:pt x="1989" y="37"/>
                    <a:pt x="1834" y="132"/>
                  </a:cubicBezTo>
                  <a:cubicBezTo>
                    <a:pt x="1668" y="37"/>
                    <a:pt x="1477" y="1"/>
                    <a:pt x="1287"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8" name="Google Shape;670;p50">
            <a:extLst>
              <a:ext uri="{FF2B5EF4-FFF2-40B4-BE49-F238E27FC236}">
                <a16:creationId xmlns:a16="http://schemas.microsoft.com/office/drawing/2014/main" id="{DA3452FE-DA7B-DA06-B147-8E6F73D59921}"/>
              </a:ext>
            </a:extLst>
          </p:cNvPr>
          <p:cNvGrpSpPr/>
          <p:nvPr/>
        </p:nvGrpSpPr>
        <p:grpSpPr>
          <a:xfrm>
            <a:off x="8893534" y="3891974"/>
            <a:ext cx="202303" cy="217999"/>
            <a:chOff x="5714500" y="2587566"/>
            <a:chExt cx="142675" cy="163334"/>
          </a:xfrm>
        </p:grpSpPr>
        <p:sp>
          <p:nvSpPr>
            <p:cNvPr id="429" name="Google Shape;671;p50">
              <a:extLst>
                <a:ext uri="{FF2B5EF4-FFF2-40B4-BE49-F238E27FC236}">
                  <a16:creationId xmlns:a16="http://schemas.microsoft.com/office/drawing/2014/main" id="{5B503251-3640-DA7D-A64F-3F1C24AD27B7}"/>
                </a:ext>
              </a:extLst>
            </p:cNvPr>
            <p:cNvSpPr/>
            <p:nvPr/>
          </p:nvSpPr>
          <p:spPr>
            <a:xfrm>
              <a:off x="5749915" y="2612864"/>
              <a:ext cx="81537" cy="81525"/>
            </a:xfrm>
            <a:custGeom>
              <a:avLst/>
              <a:gdLst/>
              <a:ahLst/>
              <a:cxnLst/>
              <a:rect l="l" t="t" r="r" b="b"/>
              <a:pathLst>
                <a:path w="6907" h="6906" extrusionOk="0">
                  <a:moveTo>
                    <a:pt x="3453" y="810"/>
                  </a:moveTo>
                  <a:cubicBezTo>
                    <a:pt x="4918" y="810"/>
                    <a:pt x="6085" y="2000"/>
                    <a:pt x="6085" y="3441"/>
                  </a:cubicBezTo>
                  <a:cubicBezTo>
                    <a:pt x="6085" y="4894"/>
                    <a:pt x="4918" y="6084"/>
                    <a:pt x="3453" y="6084"/>
                  </a:cubicBezTo>
                  <a:cubicBezTo>
                    <a:pt x="2001" y="6084"/>
                    <a:pt x="822" y="4894"/>
                    <a:pt x="822" y="3441"/>
                  </a:cubicBezTo>
                  <a:cubicBezTo>
                    <a:pt x="822" y="1989"/>
                    <a:pt x="2013" y="810"/>
                    <a:pt x="3453" y="810"/>
                  </a:cubicBezTo>
                  <a:close/>
                  <a:moveTo>
                    <a:pt x="3453" y="0"/>
                  </a:moveTo>
                  <a:cubicBezTo>
                    <a:pt x="1548" y="0"/>
                    <a:pt x="1" y="1548"/>
                    <a:pt x="1" y="3453"/>
                  </a:cubicBezTo>
                  <a:cubicBezTo>
                    <a:pt x="1" y="5358"/>
                    <a:pt x="1548" y="6906"/>
                    <a:pt x="3453" y="6906"/>
                  </a:cubicBezTo>
                  <a:cubicBezTo>
                    <a:pt x="5358" y="6906"/>
                    <a:pt x="6906" y="5358"/>
                    <a:pt x="6906" y="3453"/>
                  </a:cubicBezTo>
                  <a:cubicBezTo>
                    <a:pt x="6906" y="1548"/>
                    <a:pt x="5358" y="0"/>
                    <a:pt x="345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0" name="Google Shape;672;p50">
              <a:extLst>
                <a:ext uri="{FF2B5EF4-FFF2-40B4-BE49-F238E27FC236}">
                  <a16:creationId xmlns:a16="http://schemas.microsoft.com/office/drawing/2014/main" id="{DD037A8F-8B39-E051-012A-EF7F8F13284C}"/>
                </a:ext>
              </a:extLst>
            </p:cNvPr>
            <p:cNvSpPr/>
            <p:nvPr/>
          </p:nvSpPr>
          <p:spPr>
            <a:xfrm>
              <a:off x="5771707" y="2639650"/>
              <a:ext cx="37811" cy="27895"/>
            </a:xfrm>
            <a:custGeom>
              <a:avLst/>
              <a:gdLst/>
              <a:ahLst/>
              <a:cxnLst/>
              <a:rect l="l" t="t" r="r" b="b"/>
              <a:pathLst>
                <a:path w="3203" h="2363" extrusionOk="0">
                  <a:moveTo>
                    <a:pt x="2756" y="1"/>
                  </a:moveTo>
                  <a:cubicBezTo>
                    <a:pt x="2655" y="1"/>
                    <a:pt x="2553" y="42"/>
                    <a:pt x="2477" y="124"/>
                  </a:cubicBezTo>
                  <a:lnTo>
                    <a:pt x="1226" y="1375"/>
                  </a:lnTo>
                  <a:lnTo>
                    <a:pt x="738" y="898"/>
                  </a:lnTo>
                  <a:cubicBezTo>
                    <a:pt x="661" y="815"/>
                    <a:pt x="560" y="773"/>
                    <a:pt x="457" y="773"/>
                  </a:cubicBezTo>
                  <a:cubicBezTo>
                    <a:pt x="354" y="773"/>
                    <a:pt x="250" y="815"/>
                    <a:pt x="167" y="898"/>
                  </a:cubicBezTo>
                  <a:cubicBezTo>
                    <a:pt x="0" y="1065"/>
                    <a:pt x="0" y="1315"/>
                    <a:pt x="167" y="1470"/>
                  </a:cubicBezTo>
                  <a:lnTo>
                    <a:pt x="941" y="2256"/>
                  </a:lnTo>
                  <a:cubicBezTo>
                    <a:pt x="1012" y="2327"/>
                    <a:pt x="1119" y="2363"/>
                    <a:pt x="1226" y="2363"/>
                  </a:cubicBezTo>
                  <a:cubicBezTo>
                    <a:pt x="1322" y="2363"/>
                    <a:pt x="1429" y="2327"/>
                    <a:pt x="1500" y="2256"/>
                  </a:cubicBezTo>
                  <a:lnTo>
                    <a:pt x="3036" y="720"/>
                  </a:lnTo>
                  <a:cubicBezTo>
                    <a:pt x="3203" y="553"/>
                    <a:pt x="3203" y="303"/>
                    <a:pt x="3036" y="136"/>
                  </a:cubicBezTo>
                  <a:cubicBezTo>
                    <a:pt x="2964" y="45"/>
                    <a:pt x="2860" y="1"/>
                    <a:pt x="275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673;p50">
              <a:extLst>
                <a:ext uri="{FF2B5EF4-FFF2-40B4-BE49-F238E27FC236}">
                  <a16:creationId xmlns:a16="http://schemas.microsoft.com/office/drawing/2014/main" id="{A075BA26-8C54-7AE3-0EA6-8278CBB9D390}"/>
                </a:ext>
              </a:extLst>
            </p:cNvPr>
            <p:cNvSpPr/>
            <p:nvPr/>
          </p:nvSpPr>
          <p:spPr>
            <a:xfrm>
              <a:off x="5714500" y="2587566"/>
              <a:ext cx="142675" cy="163334"/>
            </a:xfrm>
            <a:custGeom>
              <a:avLst/>
              <a:gdLst/>
              <a:ahLst/>
              <a:cxnLst/>
              <a:rect l="l" t="t" r="r" b="b"/>
              <a:pathLst>
                <a:path w="12086" h="13836" extrusionOk="0">
                  <a:moveTo>
                    <a:pt x="6453" y="810"/>
                  </a:moveTo>
                  <a:cubicBezTo>
                    <a:pt x="9120" y="810"/>
                    <a:pt x="11275" y="2977"/>
                    <a:pt x="11275" y="5620"/>
                  </a:cubicBezTo>
                  <a:cubicBezTo>
                    <a:pt x="11275" y="7465"/>
                    <a:pt x="10156" y="9192"/>
                    <a:pt x="8466" y="9966"/>
                  </a:cubicBezTo>
                  <a:cubicBezTo>
                    <a:pt x="8311" y="10025"/>
                    <a:pt x="8227" y="10180"/>
                    <a:pt x="8227" y="10335"/>
                  </a:cubicBezTo>
                  <a:lnTo>
                    <a:pt x="8227" y="12335"/>
                  </a:lnTo>
                  <a:cubicBezTo>
                    <a:pt x="8227" y="12704"/>
                    <a:pt x="7930" y="13014"/>
                    <a:pt x="7537" y="13014"/>
                  </a:cubicBezTo>
                  <a:lnTo>
                    <a:pt x="4477" y="13014"/>
                  </a:lnTo>
                  <a:cubicBezTo>
                    <a:pt x="4108" y="13014"/>
                    <a:pt x="3786" y="12716"/>
                    <a:pt x="3786" y="12335"/>
                  </a:cubicBezTo>
                  <a:lnTo>
                    <a:pt x="3786" y="11906"/>
                  </a:lnTo>
                  <a:cubicBezTo>
                    <a:pt x="3786" y="11085"/>
                    <a:pt x="3120" y="10418"/>
                    <a:pt x="2298" y="10418"/>
                  </a:cubicBezTo>
                  <a:cubicBezTo>
                    <a:pt x="1929" y="10418"/>
                    <a:pt x="1620" y="10097"/>
                    <a:pt x="1620" y="9727"/>
                  </a:cubicBezTo>
                  <a:lnTo>
                    <a:pt x="1620" y="8656"/>
                  </a:lnTo>
                  <a:cubicBezTo>
                    <a:pt x="1620" y="8430"/>
                    <a:pt x="1441" y="8251"/>
                    <a:pt x="1215" y="8251"/>
                  </a:cubicBezTo>
                  <a:lnTo>
                    <a:pt x="834" y="8251"/>
                  </a:lnTo>
                  <a:cubicBezTo>
                    <a:pt x="834" y="8168"/>
                    <a:pt x="834" y="8001"/>
                    <a:pt x="917" y="7763"/>
                  </a:cubicBezTo>
                  <a:lnTo>
                    <a:pt x="1620" y="5751"/>
                  </a:lnTo>
                  <a:cubicBezTo>
                    <a:pt x="1631" y="5715"/>
                    <a:pt x="1631" y="5667"/>
                    <a:pt x="1631" y="5620"/>
                  </a:cubicBezTo>
                  <a:cubicBezTo>
                    <a:pt x="1631" y="2977"/>
                    <a:pt x="3786" y="810"/>
                    <a:pt x="6453" y="810"/>
                  </a:cubicBezTo>
                  <a:close/>
                  <a:moveTo>
                    <a:pt x="6453" y="0"/>
                  </a:moveTo>
                  <a:cubicBezTo>
                    <a:pt x="3370" y="0"/>
                    <a:pt x="869" y="2477"/>
                    <a:pt x="846" y="5548"/>
                  </a:cubicBezTo>
                  <a:lnTo>
                    <a:pt x="179" y="7501"/>
                  </a:lnTo>
                  <a:cubicBezTo>
                    <a:pt x="0" y="8037"/>
                    <a:pt x="0" y="8513"/>
                    <a:pt x="203" y="8787"/>
                  </a:cubicBezTo>
                  <a:cubicBezTo>
                    <a:pt x="322" y="8965"/>
                    <a:pt x="512" y="9061"/>
                    <a:pt x="727" y="9061"/>
                  </a:cubicBezTo>
                  <a:lnTo>
                    <a:pt x="846" y="9061"/>
                  </a:lnTo>
                  <a:lnTo>
                    <a:pt x="846" y="9739"/>
                  </a:lnTo>
                  <a:cubicBezTo>
                    <a:pt x="846" y="10561"/>
                    <a:pt x="1512" y="11228"/>
                    <a:pt x="2334" y="11228"/>
                  </a:cubicBezTo>
                  <a:cubicBezTo>
                    <a:pt x="2703" y="11228"/>
                    <a:pt x="3013" y="11549"/>
                    <a:pt x="3013" y="11918"/>
                  </a:cubicBezTo>
                  <a:lnTo>
                    <a:pt x="3013" y="12347"/>
                  </a:lnTo>
                  <a:cubicBezTo>
                    <a:pt x="3013" y="13168"/>
                    <a:pt x="3691" y="13835"/>
                    <a:pt x="4501" y="13835"/>
                  </a:cubicBezTo>
                  <a:lnTo>
                    <a:pt x="7537" y="13835"/>
                  </a:lnTo>
                  <a:cubicBezTo>
                    <a:pt x="8358" y="13835"/>
                    <a:pt x="9025" y="13168"/>
                    <a:pt x="9025" y="12347"/>
                  </a:cubicBezTo>
                  <a:lnTo>
                    <a:pt x="9025" y="10609"/>
                  </a:lnTo>
                  <a:cubicBezTo>
                    <a:pt x="9894" y="10156"/>
                    <a:pt x="10621" y="9501"/>
                    <a:pt x="11156" y="8692"/>
                  </a:cubicBezTo>
                  <a:cubicBezTo>
                    <a:pt x="11752" y="7775"/>
                    <a:pt x="12061" y="6703"/>
                    <a:pt x="12061" y="5620"/>
                  </a:cubicBezTo>
                  <a:cubicBezTo>
                    <a:pt x="12085" y="2512"/>
                    <a:pt x="9549" y="0"/>
                    <a:pt x="645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32" name="Google Shape;663;p50">
            <a:extLst>
              <a:ext uri="{FF2B5EF4-FFF2-40B4-BE49-F238E27FC236}">
                <a16:creationId xmlns:a16="http://schemas.microsoft.com/office/drawing/2014/main" id="{447C09FC-6ADD-AAE0-F602-FFAD83D8C8A7}"/>
              </a:ext>
            </a:extLst>
          </p:cNvPr>
          <p:cNvGrpSpPr/>
          <p:nvPr/>
        </p:nvGrpSpPr>
        <p:grpSpPr>
          <a:xfrm>
            <a:off x="10955539" y="1841492"/>
            <a:ext cx="202303" cy="159437"/>
            <a:chOff x="7210250" y="1106525"/>
            <a:chExt cx="142675" cy="119457"/>
          </a:xfrm>
        </p:grpSpPr>
        <p:sp>
          <p:nvSpPr>
            <p:cNvPr id="433" name="Google Shape;664;p50">
              <a:extLst>
                <a:ext uri="{FF2B5EF4-FFF2-40B4-BE49-F238E27FC236}">
                  <a16:creationId xmlns:a16="http://schemas.microsoft.com/office/drawing/2014/main" id="{E82F72D3-44BF-DE62-F35E-40AE3707FC89}"/>
                </a:ext>
              </a:extLst>
            </p:cNvPr>
            <p:cNvSpPr/>
            <p:nvPr/>
          </p:nvSpPr>
          <p:spPr>
            <a:xfrm>
              <a:off x="7248371" y="1129986"/>
              <a:ext cx="63086" cy="70692"/>
            </a:xfrm>
            <a:custGeom>
              <a:avLst/>
              <a:gdLst/>
              <a:ahLst/>
              <a:cxnLst/>
              <a:rect l="l" t="t" r="r" b="b"/>
              <a:pathLst>
                <a:path w="6502" h="7286" extrusionOk="0">
                  <a:moveTo>
                    <a:pt x="3418" y="999"/>
                  </a:moveTo>
                  <a:lnTo>
                    <a:pt x="5025" y="2607"/>
                  </a:lnTo>
                  <a:cubicBezTo>
                    <a:pt x="5454" y="3035"/>
                    <a:pt x="5692" y="3595"/>
                    <a:pt x="5692" y="4214"/>
                  </a:cubicBezTo>
                  <a:cubicBezTo>
                    <a:pt x="5680" y="4595"/>
                    <a:pt x="5597" y="4964"/>
                    <a:pt x="5418" y="5297"/>
                  </a:cubicBezTo>
                  <a:cubicBezTo>
                    <a:pt x="5418" y="4786"/>
                    <a:pt x="5216" y="4274"/>
                    <a:pt x="4835" y="3881"/>
                  </a:cubicBezTo>
                  <a:lnTo>
                    <a:pt x="3704" y="2750"/>
                  </a:lnTo>
                  <a:cubicBezTo>
                    <a:pt x="3632" y="2678"/>
                    <a:pt x="3525" y="2630"/>
                    <a:pt x="3418" y="2630"/>
                  </a:cubicBezTo>
                  <a:cubicBezTo>
                    <a:pt x="3311" y="2630"/>
                    <a:pt x="3203" y="2678"/>
                    <a:pt x="3132" y="2750"/>
                  </a:cubicBezTo>
                  <a:lnTo>
                    <a:pt x="2001" y="3881"/>
                  </a:lnTo>
                  <a:cubicBezTo>
                    <a:pt x="1632" y="4250"/>
                    <a:pt x="1418" y="4762"/>
                    <a:pt x="1418" y="5297"/>
                  </a:cubicBezTo>
                  <a:cubicBezTo>
                    <a:pt x="1239" y="4964"/>
                    <a:pt x="1144" y="4595"/>
                    <a:pt x="1144" y="4214"/>
                  </a:cubicBezTo>
                  <a:cubicBezTo>
                    <a:pt x="1144" y="3595"/>
                    <a:pt x="1382" y="3035"/>
                    <a:pt x="1810" y="2607"/>
                  </a:cubicBezTo>
                  <a:lnTo>
                    <a:pt x="3418" y="999"/>
                  </a:lnTo>
                  <a:close/>
                  <a:moveTo>
                    <a:pt x="3406" y="3631"/>
                  </a:moveTo>
                  <a:lnTo>
                    <a:pt x="4239" y="4464"/>
                  </a:lnTo>
                  <a:cubicBezTo>
                    <a:pt x="4692" y="4928"/>
                    <a:pt x="4692" y="5678"/>
                    <a:pt x="4239" y="6143"/>
                  </a:cubicBezTo>
                  <a:cubicBezTo>
                    <a:pt x="4013" y="6369"/>
                    <a:pt x="3715" y="6488"/>
                    <a:pt x="3406" y="6488"/>
                  </a:cubicBezTo>
                  <a:lnTo>
                    <a:pt x="3346" y="6488"/>
                  </a:lnTo>
                  <a:cubicBezTo>
                    <a:pt x="3061" y="6452"/>
                    <a:pt x="2775" y="6333"/>
                    <a:pt x="2572" y="6131"/>
                  </a:cubicBezTo>
                  <a:cubicBezTo>
                    <a:pt x="2346" y="5905"/>
                    <a:pt x="2227" y="5607"/>
                    <a:pt x="2227" y="5297"/>
                  </a:cubicBezTo>
                  <a:cubicBezTo>
                    <a:pt x="2227" y="4988"/>
                    <a:pt x="2346" y="4690"/>
                    <a:pt x="2572" y="4464"/>
                  </a:cubicBezTo>
                  <a:lnTo>
                    <a:pt x="3406" y="3631"/>
                  </a:lnTo>
                  <a:close/>
                  <a:moveTo>
                    <a:pt x="3415" y="0"/>
                  </a:moveTo>
                  <a:cubicBezTo>
                    <a:pt x="3331" y="0"/>
                    <a:pt x="3245" y="26"/>
                    <a:pt x="3168" y="83"/>
                  </a:cubicBezTo>
                  <a:lnTo>
                    <a:pt x="3156" y="83"/>
                  </a:lnTo>
                  <a:lnTo>
                    <a:pt x="870" y="2357"/>
                  </a:lnTo>
                  <a:cubicBezTo>
                    <a:pt x="846" y="2392"/>
                    <a:pt x="810" y="2416"/>
                    <a:pt x="798" y="2452"/>
                  </a:cubicBezTo>
                  <a:cubicBezTo>
                    <a:pt x="1" y="3845"/>
                    <a:pt x="239" y="5381"/>
                    <a:pt x="1215" y="6381"/>
                  </a:cubicBezTo>
                  <a:cubicBezTo>
                    <a:pt x="1799" y="6964"/>
                    <a:pt x="2572" y="7286"/>
                    <a:pt x="3406" y="7286"/>
                  </a:cubicBezTo>
                  <a:cubicBezTo>
                    <a:pt x="4227" y="7286"/>
                    <a:pt x="5013" y="6964"/>
                    <a:pt x="5597" y="6381"/>
                  </a:cubicBezTo>
                  <a:cubicBezTo>
                    <a:pt x="6168" y="5798"/>
                    <a:pt x="6502" y="5024"/>
                    <a:pt x="6502" y="4190"/>
                  </a:cubicBezTo>
                  <a:cubicBezTo>
                    <a:pt x="6502" y="3369"/>
                    <a:pt x="6168" y="2583"/>
                    <a:pt x="5597" y="1999"/>
                  </a:cubicBezTo>
                  <a:lnTo>
                    <a:pt x="3704" y="118"/>
                  </a:lnTo>
                  <a:cubicBezTo>
                    <a:pt x="3629" y="44"/>
                    <a:pt x="3524" y="0"/>
                    <a:pt x="341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665;p50">
              <a:extLst>
                <a:ext uri="{FF2B5EF4-FFF2-40B4-BE49-F238E27FC236}">
                  <a16:creationId xmlns:a16="http://schemas.microsoft.com/office/drawing/2014/main" id="{10A53FBB-29A5-38A0-70FE-778A3D21147B}"/>
                </a:ext>
              </a:extLst>
            </p:cNvPr>
            <p:cNvSpPr/>
            <p:nvPr/>
          </p:nvSpPr>
          <p:spPr>
            <a:xfrm>
              <a:off x="7210250" y="1106525"/>
              <a:ext cx="142675" cy="119457"/>
            </a:xfrm>
            <a:custGeom>
              <a:avLst/>
              <a:gdLst/>
              <a:ahLst/>
              <a:cxnLst/>
              <a:rect l="l" t="t" r="r" b="b"/>
              <a:pathLst>
                <a:path w="14705" h="12312" extrusionOk="0">
                  <a:moveTo>
                    <a:pt x="10073" y="822"/>
                  </a:moveTo>
                  <a:cubicBezTo>
                    <a:pt x="10978" y="822"/>
                    <a:pt x="11847" y="1179"/>
                    <a:pt x="12490" y="1822"/>
                  </a:cubicBezTo>
                  <a:cubicBezTo>
                    <a:pt x="13812" y="3143"/>
                    <a:pt x="13812" y="5322"/>
                    <a:pt x="12466" y="6656"/>
                  </a:cubicBezTo>
                  <a:lnTo>
                    <a:pt x="7823" y="11299"/>
                  </a:lnTo>
                  <a:cubicBezTo>
                    <a:pt x="7692" y="11430"/>
                    <a:pt x="7525" y="11490"/>
                    <a:pt x="7347" y="11490"/>
                  </a:cubicBezTo>
                  <a:cubicBezTo>
                    <a:pt x="7168" y="11490"/>
                    <a:pt x="6990" y="11418"/>
                    <a:pt x="6871" y="11299"/>
                  </a:cubicBezTo>
                  <a:lnTo>
                    <a:pt x="2227" y="6656"/>
                  </a:lnTo>
                  <a:cubicBezTo>
                    <a:pt x="882" y="5322"/>
                    <a:pt x="882" y="3143"/>
                    <a:pt x="2227" y="1822"/>
                  </a:cubicBezTo>
                  <a:cubicBezTo>
                    <a:pt x="2870" y="1179"/>
                    <a:pt x="3727" y="822"/>
                    <a:pt x="4656" y="822"/>
                  </a:cubicBezTo>
                  <a:cubicBezTo>
                    <a:pt x="5561" y="822"/>
                    <a:pt x="6418" y="1179"/>
                    <a:pt x="7073" y="1822"/>
                  </a:cubicBezTo>
                  <a:cubicBezTo>
                    <a:pt x="7156" y="1893"/>
                    <a:pt x="7252" y="1941"/>
                    <a:pt x="7359" y="1941"/>
                  </a:cubicBezTo>
                  <a:cubicBezTo>
                    <a:pt x="7466" y="1941"/>
                    <a:pt x="7573" y="1893"/>
                    <a:pt x="7644" y="1822"/>
                  </a:cubicBezTo>
                  <a:cubicBezTo>
                    <a:pt x="8287" y="1179"/>
                    <a:pt x="9145" y="822"/>
                    <a:pt x="10073" y="822"/>
                  </a:cubicBezTo>
                  <a:close/>
                  <a:moveTo>
                    <a:pt x="4644" y="0"/>
                  </a:moveTo>
                  <a:cubicBezTo>
                    <a:pt x="3513" y="0"/>
                    <a:pt x="2441" y="453"/>
                    <a:pt x="1644" y="1238"/>
                  </a:cubicBezTo>
                  <a:cubicBezTo>
                    <a:pt x="1" y="2893"/>
                    <a:pt x="1" y="5584"/>
                    <a:pt x="1644" y="7239"/>
                  </a:cubicBezTo>
                  <a:lnTo>
                    <a:pt x="6287" y="11883"/>
                  </a:lnTo>
                  <a:cubicBezTo>
                    <a:pt x="6573" y="12157"/>
                    <a:pt x="6942" y="12311"/>
                    <a:pt x="7347" y="12311"/>
                  </a:cubicBezTo>
                  <a:cubicBezTo>
                    <a:pt x="7752" y="12311"/>
                    <a:pt x="8121" y="12157"/>
                    <a:pt x="8406" y="11883"/>
                  </a:cubicBezTo>
                  <a:lnTo>
                    <a:pt x="13050" y="7239"/>
                  </a:lnTo>
                  <a:cubicBezTo>
                    <a:pt x="14705" y="5572"/>
                    <a:pt x="14705" y="2893"/>
                    <a:pt x="13050" y="1238"/>
                  </a:cubicBezTo>
                  <a:cubicBezTo>
                    <a:pt x="12240" y="441"/>
                    <a:pt x="11193" y="0"/>
                    <a:pt x="10061" y="0"/>
                  </a:cubicBezTo>
                  <a:cubicBezTo>
                    <a:pt x="9061" y="0"/>
                    <a:pt x="8109" y="346"/>
                    <a:pt x="7347" y="988"/>
                  </a:cubicBezTo>
                  <a:cubicBezTo>
                    <a:pt x="6585" y="346"/>
                    <a:pt x="5632" y="0"/>
                    <a:pt x="464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Rectangle 2">
            <a:extLst>
              <a:ext uri="{FF2B5EF4-FFF2-40B4-BE49-F238E27FC236}">
                <a16:creationId xmlns:a16="http://schemas.microsoft.com/office/drawing/2014/main" id="{351CAC8B-5491-4493-AC30-4F8B87A80631}"/>
              </a:ext>
            </a:extLst>
          </p:cNvPr>
          <p:cNvSpPr/>
          <p:nvPr/>
        </p:nvSpPr>
        <p:spPr>
          <a:xfrm>
            <a:off x="11637101" y="6301792"/>
            <a:ext cx="601447" cy="584775"/>
          </a:xfrm>
          <a:prstGeom prst="rect">
            <a:avLst/>
          </a:prstGeom>
        </p:spPr>
        <p:txBody>
          <a:bodyPr wrap="square">
            <a:spAutoFit/>
          </a:bodyPr>
          <a:lstStyle/>
          <a:p>
            <a:r>
              <a:rPr lang="en-US"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18</a:t>
            </a:r>
            <a:endParaRPr lang="fr-TN" sz="3200" dirty="0"/>
          </a:p>
        </p:txBody>
      </p:sp>
    </p:spTree>
    <p:extLst>
      <p:ext uri="{BB962C8B-B14F-4D97-AF65-F5344CB8AC3E}">
        <p14:creationId xmlns:p14="http://schemas.microsoft.com/office/powerpoint/2010/main" val="225218797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34">
            <a:extLst>
              <a:ext uri="{FF2B5EF4-FFF2-40B4-BE49-F238E27FC236}">
                <a16:creationId xmlns:a16="http://schemas.microsoft.com/office/drawing/2014/main" id="{96B0857A-0DDD-176C-C97D-B54E05A5FAAA}"/>
              </a:ext>
            </a:extLst>
          </p:cNvPr>
          <p:cNvSpPr txBox="1"/>
          <p:nvPr/>
        </p:nvSpPr>
        <p:spPr>
          <a:xfrm>
            <a:off x="1244818" y="1319185"/>
            <a:ext cx="9867006" cy="183370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3800" b="0" i="0" u="none" strike="noStrike" kern="0" cap="none" spc="0" normalizeH="0" baseline="0" noProof="0" dirty="0">
                <a:ln>
                  <a:noFill/>
                </a:ln>
                <a:solidFill>
                  <a:prstClr val="white"/>
                </a:solidFill>
                <a:effectLst/>
                <a:uLnTx/>
                <a:uFillTx/>
                <a:latin typeface="Darker Grotesque" pitchFamily="2" charset="0"/>
              </a:rPr>
              <a:t>Etude </a:t>
            </a:r>
          </a:p>
        </p:txBody>
      </p:sp>
      <p:sp>
        <p:nvSpPr>
          <p:cNvPr id="17" name="TextBox 35">
            <a:extLst>
              <a:ext uri="{FF2B5EF4-FFF2-40B4-BE49-F238E27FC236}">
                <a16:creationId xmlns:a16="http://schemas.microsoft.com/office/drawing/2014/main" id="{DF53F71E-6395-A8F6-84D6-95A170271DE9}"/>
              </a:ext>
            </a:extLst>
          </p:cNvPr>
          <p:cNvSpPr txBox="1"/>
          <p:nvPr/>
        </p:nvSpPr>
        <p:spPr>
          <a:xfrm>
            <a:off x="1080320" y="3435417"/>
            <a:ext cx="9984107" cy="1833707"/>
          </a:xfrm>
          <a:prstGeom prst="rect">
            <a:avLst/>
          </a:prstGeom>
          <a:noFill/>
        </p:spPr>
        <p:txBody>
          <a:bodyPr wrap="square" rtlCol="0">
            <a:spAutoFit/>
          </a:bodyPr>
          <a:lstStyle/>
          <a:p>
            <a:pPr lvl="0" algn="ctr">
              <a:lnSpc>
                <a:spcPct val="80000"/>
              </a:lnSpc>
              <a:defRPr/>
            </a:pPr>
            <a:r>
              <a:rPr lang="fr-FR" sz="13800" kern="0" dirty="0">
                <a:solidFill>
                  <a:prstClr val="white"/>
                </a:solidFill>
                <a:latin typeface="Darker Grotesque" pitchFamily="2" charset="0"/>
              </a:rPr>
              <a:t>technique</a:t>
            </a:r>
            <a:endParaRPr lang="en-US" sz="13800" kern="0" dirty="0">
              <a:solidFill>
                <a:prstClr val="white"/>
              </a:solidFill>
              <a:latin typeface="Darker Grotesque" pitchFamily="2" charset="0"/>
            </a:endParaRPr>
          </a:p>
        </p:txBody>
      </p:sp>
      <p:sp>
        <p:nvSpPr>
          <p:cNvPr id="30" name="TextBox 34">
            <a:extLst>
              <a:ext uri="{FF2B5EF4-FFF2-40B4-BE49-F238E27FC236}">
                <a16:creationId xmlns:a16="http://schemas.microsoft.com/office/drawing/2014/main" id="{A1D39067-C74E-ED20-0251-5DAC7AD79F87}"/>
              </a:ext>
            </a:extLst>
          </p:cNvPr>
          <p:cNvSpPr txBox="1"/>
          <p:nvPr/>
        </p:nvSpPr>
        <p:spPr>
          <a:xfrm>
            <a:off x="1268444" y="1312768"/>
            <a:ext cx="9867006" cy="183370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3800" b="0" i="0" u="none" strike="noStrike" kern="0" cap="none" spc="0" normalizeH="0" baseline="0" noProof="0" dirty="0">
                <a:ln>
                  <a:noFill/>
                </a:ln>
                <a:solidFill>
                  <a:prstClr val="white"/>
                </a:solidFill>
                <a:effectLst/>
                <a:uLnTx/>
                <a:uFillTx/>
                <a:latin typeface="Darker Grotesque" pitchFamily="2" charset="0"/>
              </a:rPr>
              <a:t>Etude </a:t>
            </a:r>
          </a:p>
        </p:txBody>
      </p:sp>
      <p:sp>
        <p:nvSpPr>
          <p:cNvPr id="31" name="TextBox 35">
            <a:extLst>
              <a:ext uri="{FF2B5EF4-FFF2-40B4-BE49-F238E27FC236}">
                <a16:creationId xmlns:a16="http://schemas.microsoft.com/office/drawing/2014/main" id="{1A55736F-8184-BB64-AD87-7EC51BEF9BCA}"/>
              </a:ext>
            </a:extLst>
          </p:cNvPr>
          <p:cNvSpPr txBox="1"/>
          <p:nvPr/>
        </p:nvSpPr>
        <p:spPr>
          <a:xfrm>
            <a:off x="1103946" y="3429000"/>
            <a:ext cx="9984107" cy="1833707"/>
          </a:xfrm>
          <a:prstGeom prst="rect">
            <a:avLst/>
          </a:prstGeom>
          <a:noFill/>
        </p:spPr>
        <p:txBody>
          <a:bodyPr wrap="square" rtlCol="0">
            <a:spAutoFit/>
          </a:bodyPr>
          <a:lstStyle/>
          <a:p>
            <a:pPr lvl="0" algn="ctr">
              <a:lnSpc>
                <a:spcPct val="80000"/>
              </a:lnSpc>
              <a:defRPr/>
            </a:pPr>
            <a:r>
              <a:rPr lang="fr-FR" sz="13800" kern="0" dirty="0">
                <a:solidFill>
                  <a:prstClr val="white"/>
                </a:solidFill>
                <a:latin typeface="Darker Grotesque" pitchFamily="2" charset="0"/>
              </a:rPr>
              <a:t>technique</a:t>
            </a:r>
            <a:endParaRPr lang="en-US" sz="13800" kern="0" dirty="0">
              <a:solidFill>
                <a:prstClr val="white"/>
              </a:solidFill>
              <a:latin typeface="Darker Grotesque" pitchFamily="2" charset="0"/>
            </a:endParaRPr>
          </a:p>
        </p:txBody>
      </p:sp>
    </p:spTree>
    <p:extLst>
      <p:ext uri="{BB962C8B-B14F-4D97-AF65-F5344CB8AC3E}">
        <p14:creationId xmlns:p14="http://schemas.microsoft.com/office/powerpoint/2010/main" val="347776547"/>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34">
            <a:extLst>
              <a:ext uri="{FF2B5EF4-FFF2-40B4-BE49-F238E27FC236}">
                <a16:creationId xmlns:a16="http://schemas.microsoft.com/office/drawing/2014/main" id="{96B0857A-0DDD-176C-C97D-B54E05A5FAAA}"/>
              </a:ext>
            </a:extLst>
          </p:cNvPr>
          <p:cNvSpPr txBox="1"/>
          <p:nvPr/>
        </p:nvSpPr>
        <p:spPr>
          <a:xfrm>
            <a:off x="1244818" y="1319185"/>
            <a:ext cx="9867006" cy="183370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3800" b="0" i="0" u="none" strike="noStrike" kern="0" cap="none" spc="0" normalizeH="0" baseline="0" noProof="0" dirty="0">
                <a:ln>
                  <a:noFill/>
                </a:ln>
                <a:solidFill>
                  <a:prstClr val="white"/>
                </a:solidFill>
                <a:effectLst/>
                <a:uLnTx/>
                <a:uFillTx/>
                <a:latin typeface="Darker Grotesque" pitchFamily="2" charset="0"/>
              </a:rPr>
              <a:t>Etude </a:t>
            </a:r>
          </a:p>
        </p:txBody>
      </p:sp>
      <p:sp>
        <p:nvSpPr>
          <p:cNvPr id="17" name="TextBox 35">
            <a:extLst>
              <a:ext uri="{FF2B5EF4-FFF2-40B4-BE49-F238E27FC236}">
                <a16:creationId xmlns:a16="http://schemas.microsoft.com/office/drawing/2014/main" id="{DF53F71E-6395-A8F6-84D6-95A170271DE9}"/>
              </a:ext>
            </a:extLst>
          </p:cNvPr>
          <p:cNvSpPr txBox="1"/>
          <p:nvPr/>
        </p:nvSpPr>
        <p:spPr>
          <a:xfrm>
            <a:off x="1080320" y="3435417"/>
            <a:ext cx="9984107" cy="1833707"/>
          </a:xfrm>
          <a:prstGeom prst="rect">
            <a:avLst/>
          </a:prstGeom>
          <a:noFill/>
        </p:spPr>
        <p:txBody>
          <a:bodyPr wrap="square" rtlCol="0">
            <a:spAutoFit/>
          </a:bodyPr>
          <a:lstStyle/>
          <a:p>
            <a:pPr lvl="0" algn="ctr">
              <a:lnSpc>
                <a:spcPct val="80000"/>
              </a:lnSpc>
              <a:defRPr/>
            </a:pPr>
            <a:r>
              <a:rPr lang="fr-FR" sz="13800" kern="0" dirty="0">
                <a:solidFill>
                  <a:prstClr val="white"/>
                </a:solidFill>
                <a:latin typeface="Darker Grotesque" pitchFamily="2" charset="0"/>
              </a:rPr>
              <a:t>technique</a:t>
            </a:r>
            <a:endParaRPr lang="en-US" sz="13800" kern="0" dirty="0">
              <a:solidFill>
                <a:prstClr val="white"/>
              </a:solidFill>
              <a:latin typeface="Darker Grotesque" pitchFamily="2" charset="0"/>
            </a:endParaRPr>
          </a:p>
        </p:txBody>
      </p:sp>
      <p:sp>
        <p:nvSpPr>
          <p:cNvPr id="30" name="TextBox 34">
            <a:extLst>
              <a:ext uri="{FF2B5EF4-FFF2-40B4-BE49-F238E27FC236}">
                <a16:creationId xmlns:a16="http://schemas.microsoft.com/office/drawing/2014/main" id="{A1D39067-C74E-ED20-0251-5DAC7AD79F87}"/>
              </a:ext>
            </a:extLst>
          </p:cNvPr>
          <p:cNvSpPr txBox="1"/>
          <p:nvPr/>
        </p:nvSpPr>
        <p:spPr>
          <a:xfrm>
            <a:off x="1268444" y="1312768"/>
            <a:ext cx="9867006" cy="183370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3800" b="0" i="0" u="none" strike="noStrike" kern="0" cap="none" spc="0" normalizeH="0" baseline="0" noProof="0" dirty="0">
                <a:ln>
                  <a:noFill/>
                </a:ln>
                <a:solidFill>
                  <a:prstClr val="white"/>
                </a:solidFill>
                <a:effectLst/>
                <a:uLnTx/>
                <a:uFillTx/>
                <a:latin typeface="Darker Grotesque" pitchFamily="2" charset="0"/>
              </a:rPr>
              <a:t>Etude </a:t>
            </a:r>
          </a:p>
        </p:txBody>
      </p:sp>
      <p:sp>
        <p:nvSpPr>
          <p:cNvPr id="31" name="TextBox 35">
            <a:extLst>
              <a:ext uri="{FF2B5EF4-FFF2-40B4-BE49-F238E27FC236}">
                <a16:creationId xmlns:a16="http://schemas.microsoft.com/office/drawing/2014/main" id="{1A55736F-8184-BB64-AD87-7EC51BEF9BCA}"/>
              </a:ext>
            </a:extLst>
          </p:cNvPr>
          <p:cNvSpPr txBox="1"/>
          <p:nvPr/>
        </p:nvSpPr>
        <p:spPr>
          <a:xfrm>
            <a:off x="1103946" y="3429000"/>
            <a:ext cx="9984107" cy="1833707"/>
          </a:xfrm>
          <a:prstGeom prst="rect">
            <a:avLst/>
          </a:prstGeom>
          <a:noFill/>
        </p:spPr>
        <p:txBody>
          <a:bodyPr wrap="square" rtlCol="0">
            <a:spAutoFit/>
          </a:bodyPr>
          <a:lstStyle/>
          <a:p>
            <a:pPr lvl="0" algn="ctr">
              <a:lnSpc>
                <a:spcPct val="80000"/>
              </a:lnSpc>
              <a:defRPr/>
            </a:pPr>
            <a:r>
              <a:rPr lang="fr-FR" sz="13800" kern="0" dirty="0">
                <a:solidFill>
                  <a:prstClr val="white"/>
                </a:solidFill>
                <a:latin typeface="Darker Grotesque" pitchFamily="2" charset="0"/>
              </a:rPr>
              <a:t>technique</a:t>
            </a:r>
            <a:endParaRPr lang="en-US" sz="13800" kern="0" dirty="0">
              <a:solidFill>
                <a:prstClr val="white"/>
              </a:solidFill>
              <a:latin typeface="Darker Grotesque" pitchFamily="2" charset="0"/>
            </a:endParaRPr>
          </a:p>
        </p:txBody>
      </p:sp>
    </p:spTree>
    <p:extLst>
      <p:ext uri="{BB962C8B-B14F-4D97-AF65-F5344CB8AC3E}">
        <p14:creationId xmlns:p14="http://schemas.microsoft.com/office/powerpoint/2010/main" val="4034632735"/>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B2EE84-8487-29F8-549F-0D62AC672E4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4774DF1-A0B7-25A1-68B5-4259FAF53F98}"/>
              </a:ext>
            </a:extLst>
          </p:cNvPr>
          <p:cNvSpPr txBox="1"/>
          <p:nvPr/>
        </p:nvSpPr>
        <p:spPr>
          <a:xfrm>
            <a:off x="403752" y="2673403"/>
            <a:ext cx="11152816" cy="1808508"/>
          </a:xfrm>
          <a:prstGeom prst="rect">
            <a:avLst/>
          </a:prstGeom>
          <a:noFill/>
        </p:spPr>
        <p:txBody>
          <a:bodyPr wrap="square" rtlCol="0">
            <a:spAutoFit/>
          </a:bodyPr>
          <a:lstStyle/>
          <a:p>
            <a:pPr lvl="0" algn="ctr">
              <a:lnSpc>
                <a:spcPct val="80000"/>
              </a:lnSpc>
              <a:defRPr/>
            </a:pPr>
            <a:r>
              <a:rPr lang="en-US" sz="13600" kern="0" dirty="0">
                <a:solidFill>
                  <a:prstClr val="white"/>
                </a:solidFill>
                <a:latin typeface="Darker Grotesque" pitchFamily="2" charset="0"/>
              </a:rPr>
              <a:t>Problématique</a:t>
            </a:r>
            <a:r>
              <a:rPr kumimoji="0" lang="en-US" sz="9600" b="0" i="0" u="none" strike="noStrike" kern="0" cap="none" spc="0" normalizeH="0" baseline="0" noProof="0" dirty="0">
                <a:ln>
                  <a:noFill/>
                </a:ln>
                <a:solidFill>
                  <a:prstClr val="white"/>
                </a:solidFill>
                <a:effectLst/>
                <a:uLnTx/>
                <a:uFillTx/>
                <a:latin typeface="Darker Grotesque" pitchFamily="2" charset="0"/>
              </a:rPr>
              <a:t>  </a:t>
            </a:r>
          </a:p>
        </p:txBody>
      </p:sp>
    </p:spTree>
    <p:extLst>
      <p:ext uri="{BB962C8B-B14F-4D97-AF65-F5344CB8AC3E}">
        <p14:creationId xmlns:p14="http://schemas.microsoft.com/office/powerpoint/2010/main" val="3641423142"/>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62AEE0-1E7D-28B4-5E01-48FAD817AC71}"/>
            </a:ext>
          </a:extLst>
        </p:cNvPr>
        <p:cNvGrpSpPr/>
        <p:nvPr/>
      </p:nvGrpSpPr>
      <p:grpSpPr>
        <a:xfrm>
          <a:off x="0" y="0"/>
          <a:ext cx="0" cy="0"/>
          <a:chOff x="0" y="0"/>
          <a:chExt cx="0" cy="0"/>
        </a:xfrm>
      </p:grpSpPr>
      <p:grpSp>
        <p:nvGrpSpPr>
          <p:cNvPr id="45" name="Group 44">
            <a:extLst>
              <a:ext uri="{FF2B5EF4-FFF2-40B4-BE49-F238E27FC236}">
                <a16:creationId xmlns:a16="http://schemas.microsoft.com/office/drawing/2014/main" id="{85B4820E-FBD4-CD81-661B-C78A1B2CD91E}"/>
              </a:ext>
            </a:extLst>
          </p:cNvPr>
          <p:cNvGrpSpPr/>
          <p:nvPr/>
        </p:nvGrpSpPr>
        <p:grpSpPr>
          <a:xfrm>
            <a:off x="234547" y="623779"/>
            <a:ext cx="11709360" cy="1463617"/>
            <a:chOff x="234547" y="623779"/>
            <a:chExt cx="11709360" cy="1463617"/>
          </a:xfrm>
        </p:grpSpPr>
        <p:cxnSp>
          <p:nvCxnSpPr>
            <p:cNvPr id="10" name="Straight Connector 9">
              <a:extLst>
                <a:ext uri="{FF2B5EF4-FFF2-40B4-BE49-F238E27FC236}">
                  <a16:creationId xmlns:a16="http://schemas.microsoft.com/office/drawing/2014/main" id="{539B7EDE-ACED-ADC3-BF21-6FD6EE73A8A1}"/>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21" name="TextBox 20">
              <a:extLst>
                <a:ext uri="{FF2B5EF4-FFF2-40B4-BE49-F238E27FC236}">
                  <a16:creationId xmlns:a16="http://schemas.microsoft.com/office/drawing/2014/main" id="{77162230-3C0F-F00C-CA0D-4203EFEAE573}"/>
                </a:ext>
              </a:extLst>
            </p:cNvPr>
            <p:cNvSpPr txBox="1"/>
            <p:nvPr/>
          </p:nvSpPr>
          <p:spPr>
            <a:xfrm>
              <a:off x="234547" y="1056986"/>
              <a:ext cx="4757048" cy="1030410"/>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800" dirty="0"/>
                <a:t>Besoins Fonctionnels</a:t>
              </a:r>
              <a:endParaRPr lang="en-GB" sz="4800" dirty="0"/>
            </a:p>
          </p:txBody>
        </p:sp>
      </p:grpSp>
      <p:sp>
        <p:nvSpPr>
          <p:cNvPr id="35" name="Rounded Rectangle 26">
            <a:extLst>
              <a:ext uri="{FF2B5EF4-FFF2-40B4-BE49-F238E27FC236}">
                <a16:creationId xmlns:a16="http://schemas.microsoft.com/office/drawing/2014/main" id="{F6F1683F-90F1-910A-4468-6DCE957E847A}"/>
              </a:ext>
            </a:extLst>
          </p:cNvPr>
          <p:cNvSpPr/>
          <p:nvPr/>
        </p:nvSpPr>
        <p:spPr>
          <a:xfrm>
            <a:off x="8409882" y="4416418"/>
            <a:ext cx="2569500" cy="587606"/>
          </a:xfrm>
          <a:prstGeom prst="roundRect">
            <a:avLst>
              <a:gd name="adj" fmla="val 19239"/>
            </a:avLst>
          </a:prstGeom>
          <a:solidFill>
            <a:schemeClr val="bg1">
              <a:alpha val="20000"/>
            </a:schemeClr>
          </a:solidFill>
          <a:ln w="6350">
            <a:solidFill>
              <a:schemeClr val="bg1">
                <a:alpha val="25000"/>
              </a:schemeClr>
            </a:solidFill>
          </a:ln>
        </p:spPr>
        <p:txBody>
          <a:bodyPr vert="horz" wrap="none" lIns="91440" tIns="45720" rIns="91440" bIns="45720" rtlCol="0" anchor="ctr"/>
          <a:lstStyle/>
          <a:p>
            <a:pPr algn="ctr"/>
            <a:r>
              <a:rPr lang="fr-FR" sz="2000" dirty="0">
                <a:solidFill>
                  <a:schemeClr val="bg1"/>
                </a:solidFill>
                <a:latin typeface="Darker Grotesque SemiBold" pitchFamily="2" charset="0"/>
              </a:rPr>
              <a:t>Paiement sécurisé</a:t>
            </a:r>
            <a:endParaRPr lang="en-GB" sz="2000" dirty="0">
              <a:solidFill>
                <a:schemeClr val="bg1"/>
              </a:solidFill>
              <a:latin typeface="Darker Grotesque SemiBold" pitchFamily="2" charset="0"/>
            </a:endParaRPr>
          </a:p>
        </p:txBody>
      </p:sp>
      <p:sp>
        <p:nvSpPr>
          <p:cNvPr id="36" name="Rounded Rectangle 26">
            <a:extLst>
              <a:ext uri="{FF2B5EF4-FFF2-40B4-BE49-F238E27FC236}">
                <a16:creationId xmlns:a16="http://schemas.microsoft.com/office/drawing/2014/main" id="{D80C771D-2375-B21A-B393-0AAF58459178}"/>
              </a:ext>
            </a:extLst>
          </p:cNvPr>
          <p:cNvSpPr/>
          <p:nvPr/>
        </p:nvSpPr>
        <p:spPr>
          <a:xfrm>
            <a:off x="8409882" y="2841394"/>
            <a:ext cx="2569500" cy="587606"/>
          </a:xfrm>
          <a:prstGeom prst="roundRect">
            <a:avLst>
              <a:gd name="adj" fmla="val 19239"/>
            </a:avLst>
          </a:prstGeom>
          <a:solidFill>
            <a:schemeClr val="bg1"/>
          </a:solidFill>
          <a:ln w="6350">
            <a:noFill/>
          </a:ln>
          <a:effectLst>
            <a:outerShdw blurRad="1270000" algn="ctr" rotWithShape="0">
              <a:schemeClr val="bg1"/>
            </a:outerShdw>
          </a:effectLst>
        </p:spPr>
        <p:txBody>
          <a:bodyPr vert="horz" wrap="none" lIns="91440" tIns="45720" rIns="91440" bIns="45720" rtlCol="0" anchor="ctr"/>
          <a:lstStyle/>
          <a:p>
            <a:pPr algn="ctr"/>
            <a:r>
              <a:rPr lang="fr-FR" sz="2000" dirty="0" err="1">
                <a:solidFill>
                  <a:srgbClr val="484525"/>
                </a:solidFill>
                <a:latin typeface="Darker Grotesque SemiBold" pitchFamily="2" charset="0"/>
              </a:rPr>
              <a:t>Reservation</a:t>
            </a:r>
            <a:r>
              <a:rPr lang="fr-FR" sz="2000" dirty="0">
                <a:solidFill>
                  <a:srgbClr val="484525"/>
                </a:solidFill>
                <a:latin typeface="Darker Grotesque SemiBold" pitchFamily="2" charset="0"/>
              </a:rPr>
              <a:t> en ligne</a:t>
            </a:r>
            <a:endParaRPr lang="en-GB" sz="2000" dirty="0">
              <a:solidFill>
                <a:srgbClr val="484525"/>
              </a:solidFill>
              <a:latin typeface="Darker Grotesque SemiBold" pitchFamily="2" charset="0"/>
            </a:endParaRPr>
          </a:p>
        </p:txBody>
      </p:sp>
      <p:sp>
        <p:nvSpPr>
          <p:cNvPr id="37" name="Rounded Rectangle 26">
            <a:extLst>
              <a:ext uri="{FF2B5EF4-FFF2-40B4-BE49-F238E27FC236}">
                <a16:creationId xmlns:a16="http://schemas.microsoft.com/office/drawing/2014/main" id="{1D75FC9F-AF56-6826-7019-3FD37C3D6050}"/>
              </a:ext>
            </a:extLst>
          </p:cNvPr>
          <p:cNvSpPr/>
          <p:nvPr/>
        </p:nvSpPr>
        <p:spPr>
          <a:xfrm>
            <a:off x="6349793" y="5940418"/>
            <a:ext cx="2569500" cy="587606"/>
          </a:xfrm>
          <a:prstGeom prst="roundRect">
            <a:avLst>
              <a:gd name="adj" fmla="val 19239"/>
            </a:avLst>
          </a:prstGeom>
          <a:solidFill>
            <a:schemeClr val="bg1"/>
          </a:solidFill>
          <a:ln w="6350">
            <a:noFill/>
          </a:ln>
          <a:effectLst>
            <a:outerShdw blurRad="1270000" algn="ctr" rotWithShape="0">
              <a:schemeClr val="bg1"/>
            </a:outerShdw>
          </a:effectLst>
        </p:spPr>
        <p:txBody>
          <a:bodyPr vert="horz" wrap="none" lIns="91440" tIns="45720" rIns="91440" bIns="45720" rtlCol="0" anchor="ctr"/>
          <a:lstStyle/>
          <a:p>
            <a:pPr algn="ctr"/>
            <a:r>
              <a:rPr lang="fr-FR" sz="2000" dirty="0">
                <a:solidFill>
                  <a:srgbClr val="484525"/>
                </a:solidFill>
                <a:latin typeface="Darker Grotesque SemiBold" pitchFamily="2" charset="0"/>
              </a:rPr>
              <a:t>Annuler réservation</a:t>
            </a:r>
            <a:endParaRPr lang="en-GB" sz="2000" dirty="0">
              <a:solidFill>
                <a:srgbClr val="484525"/>
              </a:solidFill>
              <a:latin typeface="Darker Grotesque SemiBold" pitchFamily="2" charset="0"/>
            </a:endParaRPr>
          </a:p>
        </p:txBody>
      </p:sp>
      <p:sp>
        <p:nvSpPr>
          <p:cNvPr id="38" name="Rounded Rectangle 26">
            <a:extLst>
              <a:ext uri="{FF2B5EF4-FFF2-40B4-BE49-F238E27FC236}">
                <a16:creationId xmlns:a16="http://schemas.microsoft.com/office/drawing/2014/main" id="{9E59005C-AD74-4100-A5EF-A579353F2B7D}"/>
              </a:ext>
            </a:extLst>
          </p:cNvPr>
          <p:cNvSpPr/>
          <p:nvPr/>
        </p:nvSpPr>
        <p:spPr>
          <a:xfrm>
            <a:off x="997185" y="4390906"/>
            <a:ext cx="2569500" cy="587606"/>
          </a:xfrm>
          <a:prstGeom prst="roundRect">
            <a:avLst>
              <a:gd name="adj" fmla="val 19239"/>
            </a:avLst>
          </a:prstGeom>
          <a:solidFill>
            <a:schemeClr val="bg1"/>
          </a:solidFill>
          <a:ln w="6350">
            <a:noFill/>
          </a:ln>
          <a:effectLst>
            <a:outerShdw blurRad="1270000" algn="ctr" rotWithShape="0">
              <a:schemeClr val="bg1"/>
            </a:outerShdw>
          </a:effectLst>
        </p:spPr>
        <p:txBody>
          <a:bodyPr vert="horz" wrap="none" lIns="91440" tIns="45720" rIns="91440" bIns="45720" rtlCol="0" anchor="ctr"/>
          <a:lstStyle/>
          <a:p>
            <a:pPr algn="ctr"/>
            <a:r>
              <a:rPr lang="fr-FR" sz="2000" dirty="0">
                <a:solidFill>
                  <a:srgbClr val="484525"/>
                </a:solidFill>
                <a:latin typeface="Darker Grotesque SemiBold" pitchFamily="2" charset="0"/>
              </a:rPr>
              <a:t>Avis et notation</a:t>
            </a:r>
            <a:endParaRPr lang="en-GB" sz="2000" dirty="0">
              <a:solidFill>
                <a:srgbClr val="484525"/>
              </a:solidFill>
              <a:latin typeface="Darker Grotesque SemiBold" pitchFamily="2" charset="0"/>
            </a:endParaRPr>
          </a:p>
        </p:txBody>
      </p:sp>
      <p:sp>
        <p:nvSpPr>
          <p:cNvPr id="39" name="Rounded Rectangle 26">
            <a:extLst>
              <a:ext uri="{FF2B5EF4-FFF2-40B4-BE49-F238E27FC236}">
                <a16:creationId xmlns:a16="http://schemas.microsoft.com/office/drawing/2014/main" id="{FDF3C4D2-88E0-868C-2708-7A9E0F4C919D}"/>
              </a:ext>
            </a:extLst>
          </p:cNvPr>
          <p:cNvSpPr/>
          <p:nvPr/>
        </p:nvSpPr>
        <p:spPr>
          <a:xfrm>
            <a:off x="4811250" y="1912615"/>
            <a:ext cx="2569500" cy="587606"/>
          </a:xfrm>
          <a:prstGeom prst="roundRect">
            <a:avLst>
              <a:gd name="adj" fmla="val 19239"/>
            </a:avLst>
          </a:prstGeom>
          <a:solidFill>
            <a:schemeClr val="bg1"/>
          </a:solidFill>
          <a:ln w="6350">
            <a:noFill/>
          </a:ln>
          <a:effectLst>
            <a:outerShdw blurRad="1270000" algn="ctr" rotWithShape="0">
              <a:schemeClr val="bg1"/>
            </a:outerShdw>
          </a:effectLst>
        </p:spPr>
        <p:txBody>
          <a:bodyPr vert="horz" wrap="none" lIns="91440" tIns="45720" rIns="91440" bIns="45720" rtlCol="0" anchor="ctr"/>
          <a:lstStyle/>
          <a:p>
            <a:pPr algn="ctr"/>
            <a:r>
              <a:rPr lang="fr-FR" sz="2000" dirty="0">
                <a:solidFill>
                  <a:srgbClr val="484525"/>
                </a:solidFill>
                <a:latin typeface="Darker Grotesque SemiBold" pitchFamily="2" charset="0"/>
              </a:rPr>
              <a:t>Authentification</a:t>
            </a:r>
            <a:endParaRPr lang="en-GB" sz="2000" dirty="0">
              <a:solidFill>
                <a:srgbClr val="484525"/>
              </a:solidFill>
              <a:latin typeface="Darker Grotesque SemiBold" pitchFamily="2" charset="0"/>
            </a:endParaRPr>
          </a:p>
        </p:txBody>
      </p:sp>
      <p:sp>
        <p:nvSpPr>
          <p:cNvPr id="40" name="Rounded Rectangle 26">
            <a:extLst>
              <a:ext uri="{FF2B5EF4-FFF2-40B4-BE49-F238E27FC236}">
                <a16:creationId xmlns:a16="http://schemas.microsoft.com/office/drawing/2014/main" id="{EB405525-C788-F918-4C91-0ABCA277BEFE}"/>
              </a:ext>
            </a:extLst>
          </p:cNvPr>
          <p:cNvSpPr/>
          <p:nvPr/>
        </p:nvSpPr>
        <p:spPr>
          <a:xfrm>
            <a:off x="3167358" y="5940418"/>
            <a:ext cx="2569500" cy="587606"/>
          </a:xfrm>
          <a:prstGeom prst="roundRect">
            <a:avLst>
              <a:gd name="adj" fmla="val 19239"/>
            </a:avLst>
          </a:prstGeom>
          <a:solidFill>
            <a:schemeClr val="bg1">
              <a:alpha val="20000"/>
            </a:schemeClr>
          </a:solidFill>
          <a:ln w="6350">
            <a:solidFill>
              <a:schemeClr val="bg1">
                <a:alpha val="25000"/>
              </a:schemeClr>
            </a:solidFill>
          </a:ln>
        </p:spPr>
        <p:txBody>
          <a:bodyPr vert="horz" wrap="none" lIns="91440" tIns="45720" rIns="91440" bIns="45720" rtlCol="0" anchor="ctr"/>
          <a:lstStyle/>
          <a:p>
            <a:pPr algn="ctr"/>
            <a:r>
              <a:rPr lang="pt-BR" sz="2000" dirty="0">
                <a:solidFill>
                  <a:schemeClr val="bg1"/>
                </a:solidFill>
                <a:latin typeface="Darker Grotesque SemiBold" pitchFamily="2" charset="0"/>
              </a:rPr>
              <a:t>Gestion profile</a:t>
            </a:r>
            <a:endParaRPr lang="en-GB" sz="2000" dirty="0">
              <a:solidFill>
                <a:schemeClr val="bg1"/>
              </a:solidFill>
              <a:latin typeface="Darker Grotesque SemiBold" pitchFamily="2" charset="0"/>
            </a:endParaRPr>
          </a:p>
        </p:txBody>
      </p:sp>
      <p:sp>
        <p:nvSpPr>
          <p:cNvPr id="41" name="Rounded Rectangle 26">
            <a:extLst>
              <a:ext uri="{FF2B5EF4-FFF2-40B4-BE49-F238E27FC236}">
                <a16:creationId xmlns:a16="http://schemas.microsoft.com/office/drawing/2014/main" id="{0CC3F073-4CCC-C448-A3C3-D11243F1F51A}"/>
              </a:ext>
            </a:extLst>
          </p:cNvPr>
          <p:cNvSpPr/>
          <p:nvPr/>
        </p:nvSpPr>
        <p:spPr>
          <a:xfrm>
            <a:off x="997185" y="2841394"/>
            <a:ext cx="2569500" cy="587606"/>
          </a:xfrm>
          <a:prstGeom prst="roundRect">
            <a:avLst>
              <a:gd name="adj" fmla="val 19239"/>
            </a:avLst>
          </a:prstGeom>
          <a:solidFill>
            <a:schemeClr val="bg1">
              <a:alpha val="20000"/>
            </a:schemeClr>
          </a:solidFill>
          <a:ln w="6350">
            <a:solidFill>
              <a:schemeClr val="bg1">
                <a:alpha val="25000"/>
              </a:schemeClr>
            </a:solidFill>
          </a:ln>
        </p:spPr>
        <p:txBody>
          <a:bodyPr vert="horz" wrap="none" lIns="91440" tIns="45720" rIns="91440" bIns="45720" rtlCol="0" anchor="ctr"/>
          <a:lstStyle/>
          <a:p>
            <a:pPr algn="ctr"/>
            <a:r>
              <a:rPr lang="fr-FR" sz="2000" dirty="0">
                <a:solidFill>
                  <a:schemeClr val="bg1"/>
                </a:solidFill>
                <a:latin typeface="Darker Grotesque SemiBold" pitchFamily="2" charset="0"/>
              </a:rPr>
              <a:t>Historique personnel</a:t>
            </a:r>
            <a:endParaRPr lang="en-GB" sz="2000" dirty="0">
              <a:solidFill>
                <a:schemeClr val="bg1"/>
              </a:solidFill>
              <a:latin typeface="Darker Grotesque SemiBold" pitchFamily="2" charset="0"/>
            </a:endParaRPr>
          </a:p>
        </p:txBody>
      </p:sp>
      <p:pic>
        <p:nvPicPr>
          <p:cNvPr id="42" name="Graphic 41" descr="User">
            <a:extLst>
              <a:ext uri="{FF2B5EF4-FFF2-40B4-BE49-F238E27FC236}">
                <a16:creationId xmlns:a16="http://schemas.microsoft.com/office/drawing/2014/main" id="{350293F0-9AE4-33BB-249E-70DA1CE7697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97697" y="2965674"/>
            <a:ext cx="2196605" cy="2196605"/>
          </a:xfrm>
          <a:prstGeom prst="rect">
            <a:avLst/>
          </a:prstGeom>
        </p:spPr>
      </p:pic>
      <p:sp>
        <p:nvSpPr>
          <p:cNvPr id="44" name="TextBox 43">
            <a:extLst>
              <a:ext uri="{FF2B5EF4-FFF2-40B4-BE49-F238E27FC236}">
                <a16:creationId xmlns:a16="http://schemas.microsoft.com/office/drawing/2014/main" id="{E73C285A-D3B1-700D-63B2-4BBE26EE808E}"/>
              </a:ext>
            </a:extLst>
          </p:cNvPr>
          <p:cNvSpPr txBox="1"/>
          <p:nvPr/>
        </p:nvSpPr>
        <p:spPr>
          <a:xfrm>
            <a:off x="5331539" y="5034501"/>
            <a:ext cx="2470553" cy="587212"/>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800" dirty="0"/>
              <a:t>client</a:t>
            </a:r>
            <a:endParaRPr lang="en-GB" sz="4800" dirty="0"/>
          </a:p>
        </p:txBody>
      </p:sp>
      <p:cxnSp>
        <p:nvCxnSpPr>
          <p:cNvPr id="48" name="Straight Connector 47">
            <a:extLst>
              <a:ext uri="{FF2B5EF4-FFF2-40B4-BE49-F238E27FC236}">
                <a16:creationId xmlns:a16="http://schemas.microsoft.com/office/drawing/2014/main" id="{4EE35E90-F14D-7F2E-8B51-98E845CF7075}"/>
              </a:ext>
            </a:extLst>
          </p:cNvPr>
          <p:cNvCxnSpPr>
            <a:cxnSpLocks/>
            <a:stCxn id="42" idx="3"/>
          </p:cNvCxnSpPr>
          <p:nvPr/>
        </p:nvCxnSpPr>
        <p:spPr>
          <a:xfrm flipV="1">
            <a:off x="7194302" y="3429001"/>
            <a:ext cx="1117873" cy="634976"/>
          </a:xfrm>
          <a:prstGeom prst="line">
            <a:avLst/>
          </a:prstGeom>
          <a:ln w="19050" cap="flat" cmpd="sng" algn="ctr">
            <a:solidFill>
              <a:schemeClr val="bg1"/>
            </a:solidFill>
            <a:prstDash val="solid"/>
            <a:round/>
            <a:headEnd type="none" w="med" len="med"/>
            <a:tailEnd type="arrow" w="med" len="med"/>
          </a:ln>
          <a:effectLst>
            <a:glow rad="63500">
              <a:schemeClr val="bg1">
                <a:alpha val="40000"/>
              </a:schemeClr>
            </a:glow>
          </a:effectLst>
        </p:spPr>
        <p:style>
          <a:lnRef idx="0">
            <a:scrgbClr r="0" g="0" b="0"/>
          </a:lnRef>
          <a:fillRef idx="0">
            <a:scrgbClr r="0" g="0" b="0"/>
          </a:fillRef>
          <a:effectRef idx="0">
            <a:scrgbClr r="0" g="0" b="0"/>
          </a:effectRef>
          <a:fontRef idx="minor">
            <a:schemeClr val="tx1"/>
          </a:fontRef>
        </p:style>
      </p:cxnSp>
      <p:cxnSp>
        <p:nvCxnSpPr>
          <p:cNvPr id="50" name="Straight Connector 49">
            <a:extLst>
              <a:ext uri="{FF2B5EF4-FFF2-40B4-BE49-F238E27FC236}">
                <a16:creationId xmlns:a16="http://schemas.microsoft.com/office/drawing/2014/main" id="{6162671B-BE2F-6460-A40B-47D46F1BD8AE}"/>
              </a:ext>
            </a:extLst>
          </p:cNvPr>
          <p:cNvCxnSpPr>
            <a:cxnSpLocks/>
          </p:cNvCxnSpPr>
          <p:nvPr/>
        </p:nvCxnSpPr>
        <p:spPr>
          <a:xfrm flipV="1">
            <a:off x="6096000" y="2603500"/>
            <a:ext cx="0" cy="574669"/>
          </a:xfrm>
          <a:prstGeom prst="line">
            <a:avLst/>
          </a:prstGeom>
          <a:ln w="19050" cap="flat" cmpd="sng" algn="ctr">
            <a:solidFill>
              <a:schemeClr val="bg1"/>
            </a:solidFill>
            <a:prstDash val="solid"/>
            <a:round/>
            <a:headEnd type="none" w="med" len="med"/>
            <a:tailEnd type="arrow" w="med" len="med"/>
          </a:ln>
          <a:effectLst>
            <a:glow rad="63500">
              <a:schemeClr val="bg1">
                <a:alpha val="40000"/>
              </a:schemeClr>
            </a:glow>
          </a:effectLst>
        </p:spPr>
        <p:style>
          <a:lnRef idx="0">
            <a:scrgbClr r="0" g="0" b="0"/>
          </a:lnRef>
          <a:fillRef idx="0">
            <a:scrgbClr r="0" g="0" b="0"/>
          </a:fillRef>
          <a:effectRef idx="0">
            <a:scrgbClr r="0" g="0" b="0"/>
          </a:effectRef>
          <a:fontRef idx="minor">
            <a:schemeClr val="tx1"/>
          </a:fontRef>
        </p:style>
      </p:cxnSp>
      <p:cxnSp>
        <p:nvCxnSpPr>
          <p:cNvPr id="53" name="Straight Connector 52">
            <a:extLst>
              <a:ext uri="{FF2B5EF4-FFF2-40B4-BE49-F238E27FC236}">
                <a16:creationId xmlns:a16="http://schemas.microsoft.com/office/drawing/2014/main" id="{B5316DC7-5702-4692-4A32-9201CA461C9E}"/>
              </a:ext>
            </a:extLst>
          </p:cNvPr>
          <p:cNvCxnSpPr>
            <a:cxnSpLocks/>
            <a:stCxn id="42" idx="3"/>
          </p:cNvCxnSpPr>
          <p:nvPr/>
        </p:nvCxnSpPr>
        <p:spPr>
          <a:xfrm>
            <a:off x="7194302" y="4063977"/>
            <a:ext cx="1117873" cy="615098"/>
          </a:xfrm>
          <a:prstGeom prst="line">
            <a:avLst/>
          </a:prstGeom>
          <a:ln w="19050" cap="flat" cmpd="sng" algn="ctr">
            <a:solidFill>
              <a:schemeClr val="bg1"/>
            </a:solidFill>
            <a:prstDash val="solid"/>
            <a:round/>
            <a:headEnd type="none" w="med" len="med"/>
            <a:tailEnd type="arrow" w="med" len="med"/>
          </a:ln>
          <a:effectLst>
            <a:glow rad="63500">
              <a:schemeClr val="bg1">
                <a:alpha val="40000"/>
              </a:schemeClr>
            </a:glow>
          </a:effectLst>
        </p:spPr>
        <p:style>
          <a:lnRef idx="0">
            <a:scrgbClr r="0" g="0" b="0"/>
          </a:lnRef>
          <a:fillRef idx="0">
            <a:scrgbClr r="0" g="0" b="0"/>
          </a:fillRef>
          <a:effectRef idx="0">
            <a:scrgbClr r="0" g="0" b="0"/>
          </a:effectRef>
          <a:fontRef idx="minor">
            <a:schemeClr val="tx1"/>
          </a:fontRef>
        </p:style>
      </p:cxnSp>
      <p:cxnSp>
        <p:nvCxnSpPr>
          <p:cNvPr id="58" name="Straight Connector 57">
            <a:extLst>
              <a:ext uri="{FF2B5EF4-FFF2-40B4-BE49-F238E27FC236}">
                <a16:creationId xmlns:a16="http://schemas.microsoft.com/office/drawing/2014/main" id="{6115193E-D20D-2B20-9BF6-CA79546F82AA}"/>
              </a:ext>
            </a:extLst>
          </p:cNvPr>
          <p:cNvCxnSpPr>
            <a:cxnSpLocks/>
            <a:stCxn id="42" idx="3"/>
          </p:cNvCxnSpPr>
          <p:nvPr/>
        </p:nvCxnSpPr>
        <p:spPr>
          <a:xfrm>
            <a:off x="7194302" y="4063977"/>
            <a:ext cx="558936" cy="1561629"/>
          </a:xfrm>
          <a:prstGeom prst="line">
            <a:avLst/>
          </a:prstGeom>
          <a:ln w="19050" cap="flat" cmpd="sng" algn="ctr">
            <a:solidFill>
              <a:schemeClr val="bg1"/>
            </a:solidFill>
            <a:prstDash val="solid"/>
            <a:round/>
            <a:headEnd type="none" w="med" len="med"/>
            <a:tailEnd type="arrow" w="med" len="med"/>
          </a:ln>
          <a:effectLst>
            <a:glow rad="63500">
              <a:schemeClr val="bg1">
                <a:alpha val="40000"/>
              </a:schemeClr>
            </a:glow>
          </a:effectLst>
        </p:spPr>
        <p:style>
          <a:lnRef idx="0">
            <a:scrgbClr r="0" g="0" b="0"/>
          </a:lnRef>
          <a:fillRef idx="0">
            <a:scrgbClr r="0" g="0" b="0"/>
          </a:fillRef>
          <a:effectRef idx="0">
            <a:scrgbClr r="0" g="0" b="0"/>
          </a:effectRef>
          <a:fontRef idx="minor">
            <a:schemeClr val="tx1"/>
          </a:fontRef>
        </p:style>
      </p:cxnSp>
      <p:cxnSp>
        <p:nvCxnSpPr>
          <p:cNvPr id="61" name="Straight Connector 60">
            <a:extLst>
              <a:ext uri="{FF2B5EF4-FFF2-40B4-BE49-F238E27FC236}">
                <a16:creationId xmlns:a16="http://schemas.microsoft.com/office/drawing/2014/main" id="{67B7D2C2-6633-98C8-82FF-66FF7BF9A5E2}"/>
              </a:ext>
            </a:extLst>
          </p:cNvPr>
          <p:cNvCxnSpPr>
            <a:cxnSpLocks/>
          </p:cNvCxnSpPr>
          <p:nvPr/>
        </p:nvCxnSpPr>
        <p:spPr>
          <a:xfrm flipH="1" flipV="1">
            <a:off x="4022939" y="3261197"/>
            <a:ext cx="982006" cy="728528"/>
          </a:xfrm>
          <a:prstGeom prst="line">
            <a:avLst/>
          </a:prstGeom>
          <a:ln w="19050" cap="flat" cmpd="sng" algn="ctr">
            <a:solidFill>
              <a:schemeClr val="bg1"/>
            </a:solidFill>
            <a:prstDash val="solid"/>
            <a:round/>
            <a:headEnd type="none" w="med" len="med"/>
            <a:tailEnd type="arrow" w="med" len="med"/>
          </a:ln>
          <a:effectLst>
            <a:glow rad="63500">
              <a:schemeClr val="bg1">
                <a:alpha val="40000"/>
              </a:schemeClr>
            </a:glow>
          </a:effectLst>
        </p:spPr>
        <p:style>
          <a:lnRef idx="0">
            <a:scrgbClr r="0" g="0" b="0"/>
          </a:lnRef>
          <a:fillRef idx="0">
            <a:scrgbClr r="0" g="0" b="0"/>
          </a:fillRef>
          <a:effectRef idx="0">
            <a:scrgbClr r="0" g="0" b="0"/>
          </a:effectRef>
          <a:fontRef idx="minor">
            <a:schemeClr val="tx1"/>
          </a:fontRef>
        </p:style>
      </p:cxnSp>
      <p:cxnSp>
        <p:nvCxnSpPr>
          <p:cNvPr id="62" name="Straight Connector 61">
            <a:extLst>
              <a:ext uri="{FF2B5EF4-FFF2-40B4-BE49-F238E27FC236}">
                <a16:creationId xmlns:a16="http://schemas.microsoft.com/office/drawing/2014/main" id="{6AA33C76-9F9A-C1F7-E48F-CB10A8F65AD4}"/>
              </a:ext>
            </a:extLst>
          </p:cNvPr>
          <p:cNvCxnSpPr>
            <a:cxnSpLocks/>
          </p:cNvCxnSpPr>
          <p:nvPr/>
        </p:nvCxnSpPr>
        <p:spPr>
          <a:xfrm flipH="1">
            <a:off x="4000500" y="3989724"/>
            <a:ext cx="1004446" cy="780881"/>
          </a:xfrm>
          <a:prstGeom prst="line">
            <a:avLst/>
          </a:prstGeom>
          <a:ln w="19050" cap="flat" cmpd="sng" algn="ctr">
            <a:solidFill>
              <a:schemeClr val="bg1"/>
            </a:solidFill>
            <a:prstDash val="solid"/>
            <a:round/>
            <a:headEnd type="none" w="med" len="med"/>
            <a:tailEnd type="arrow" w="med" len="med"/>
          </a:ln>
          <a:effectLst>
            <a:glow rad="63500">
              <a:schemeClr val="bg1">
                <a:alpha val="40000"/>
              </a:schemeClr>
            </a:glow>
          </a:effectLst>
        </p:spPr>
        <p:style>
          <a:lnRef idx="0">
            <a:scrgbClr r="0" g="0" b="0"/>
          </a:lnRef>
          <a:fillRef idx="0">
            <a:scrgbClr r="0" g="0" b="0"/>
          </a:fillRef>
          <a:effectRef idx="0">
            <a:scrgbClr r="0" g="0" b="0"/>
          </a:effectRef>
          <a:fontRef idx="minor">
            <a:schemeClr val="tx1"/>
          </a:fontRef>
        </p:style>
      </p:cxnSp>
      <p:cxnSp>
        <p:nvCxnSpPr>
          <p:cNvPr id="63" name="Straight Connector 62">
            <a:extLst>
              <a:ext uri="{FF2B5EF4-FFF2-40B4-BE49-F238E27FC236}">
                <a16:creationId xmlns:a16="http://schemas.microsoft.com/office/drawing/2014/main" id="{E47232BA-780C-A504-4D81-B1AAC318B727}"/>
              </a:ext>
            </a:extLst>
          </p:cNvPr>
          <p:cNvCxnSpPr>
            <a:cxnSpLocks/>
          </p:cNvCxnSpPr>
          <p:nvPr/>
        </p:nvCxnSpPr>
        <p:spPr>
          <a:xfrm flipH="1">
            <a:off x="4438760" y="3989724"/>
            <a:ext cx="566185" cy="1537869"/>
          </a:xfrm>
          <a:prstGeom prst="line">
            <a:avLst/>
          </a:prstGeom>
          <a:ln w="19050" cap="flat" cmpd="sng" algn="ctr">
            <a:solidFill>
              <a:schemeClr val="bg1"/>
            </a:solidFill>
            <a:prstDash val="solid"/>
            <a:round/>
            <a:headEnd type="none" w="med" len="med"/>
            <a:tailEnd type="arrow" w="med" len="med"/>
          </a:ln>
          <a:effectLst>
            <a:glow rad="63500">
              <a:schemeClr val="bg1">
                <a:alpha val="40000"/>
              </a:schemeClr>
            </a:glow>
          </a:effectLst>
        </p:spPr>
        <p:style>
          <a:lnRef idx="0">
            <a:scrgbClr r="0" g="0" b="0"/>
          </a:lnRef>
          <a:fillRef idx="0">
            <a:scrgbClr r="0" g="0" b="0"/>
          </a:fillRef>
          <a:effectRef idx="0">
            <a:scrgbClr r="0" g="0" b="0"/>
          </a:effectRef>
          <a:fontRef idx="minor">
            <a:schemeClr val="tx1"/>
          </a:fontRef>
        </p:style>
      </p:cxnSp>
      <p:sp>
        <p:nvSpPr>
          <p:cNvPr id="3" name="TextBox 1">
            <a:extLst>
              <a:ext uri="{FF2B5EF4-FFF2-40B4-BE49-F238E27FC236}">
                <a16:creationId xmlns:a16="http://schemas.microsoft.com/office/drawing/2014/main" id="{35C140ED-E93F-9985-92D5-C224101AC1ED}"/>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sp>
        <p:nvSpPr>
          <p:cNvPr id="5" name="TextBox 1">
            <a:extLst>
              <a:ext uri="{FF2B5EF4-FFF2-40B4-BE49-F238E27FC236}">
                <a16:creationId xmlns:a16="http://schemas.microsoft.com/office/drawing/2014/main" id="{89106370-1CF8-7BF6-32A3-F35328951551}"/>
              </a:ext>
            </a:extLst>
          </p:cNvPr>
          <p:cNvSpPr txBox="1"/>
          <p:nvPr/>
        </p:nvSpPr>
        <p:spPr>
          <a:xfrm>
            <a:off x="908648" y="407551"/>
            <a:ext cx="945772"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technique</a:t>
            </a:r>
          </a:p>
        </p:txBody>
      </p:sp>
      <p:sp>
        <p:nvSpPr>
          <p:cNvPr id="7" name="Oval 59">
            <a:extLst>
              <a:ext uri="{FF2B5EF4-FFF2-40B4-BE49-F238E27FC236}">
                <a16:creationId xmlns:a16="http://schemas.microsoft.com/office/drawing/2014/main" id="{D65BC21C-3E81-6C8B-1483-7713BB3C1BE4}"/>
              </a:ext>
            </a:extLst>
          </p:cNvPr>
          <p:cNvSpPr/>
          <p:nvPr/>
        </p:nvSpPr>
        <p:spPr>
          <a:xfrm>
            <a:off x="5842207" y="369986"/>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8" name="Graphic 60">
            <a:extLst>
              <a:ext uri="{FF2B5EF4-FFF2-40B4-BE49-F238E27FC236}">
                <a16:creationId xmlns:a16="http://schemas.microsoft.com/office/drawing/2014/main" id="{A474600F-794E-F5DE-5F6B-B36400829D9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70000" y="497779"/>
            <a:ext cx="252000" cy="252000"/>
          </a:xfrm>
          <a:prstGeom prst="rect">
            <a:avLst/>
          </a:prstGeom>
        </p:spPr>
      </p:pic>
      <p:sp>
        <p:nvSpPr>
          <p:cNvPr id="2" name="Rectangle 1">
            <a:extLst>
              <a:ext uri="{FF2B5EF4-FFF2-40B4-BE49-F238E27FC236}">
                <a16:creationId xmlns:a16="http://schemas.microsoft.com/office/drawing/2014/main" id="{97B065D8-553E-4276-B592-10934D820FFE}"/>
              </a:ext>
            </a:extLst>
          </p:cNvPr>
          <p:cNvSpPr/>
          <p:nvPr/>
        </p:nvSpPr>
        <p:spPr>
          <a:xfrm>
            <a:off x="11372733" y="6234221"/>
            <a:ext cx="601447" cy="584775"/>
          </a:xfrm>
          <a:prstGeom prst="rect">
            <a:avLst/>
          </a:prstGeom>
        </p:spPr>
        <p:txBody>
          <a:bodyPr wrap="none">
            <a:spAutoFit/>
          </a:bodyPr>
          <a:lstStyle/>
          <a:p>
            <a:r>
              <a:rPr lang="en-US"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19</a:t>
            </a:r>
            <a:endParaRPr lang="fr-TN" sz="3200" dirty="0"/>
          </a:p>
        </p:txBody>
      </p:sp>
    </p:spTree>
    <p:extLst>
      <p:ext uri="{BB962C8B-B14F-4D97-AF65-F5344CB8AC3E}">
        <p14:creationId xmlns:p14="http://schemas.microsoft.com/office/powerpoint/2010/main" val="345702612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268B0-1E41-62A8-C035-8141BBDC364E}"/>
            </a:ext>
          </a:extLst>
        </p:cNvPr>
        <p:cNvGrpSpPr/>
        <p:nvPr/>
      </p:nvGrpSpPr>
      <p:grpSpPr>
        <a:xfrm>
          <a:off x="0" y="0"/>
          <a:ext cx="0" cy="0"/>
          <a:chOff x="0" y="0"/>
          <a:chExt cx="0" cy="0"/>
        </a:xfrm>
      </p:grpSpPr>
      <p:grpSp>
        <p:nvGrpSpPr>
          <p:cNvPr id="45" name="Group 44">
            <a:extLst>
              <a:ext uri="{FF2B5EF4-FFF2-40B4-BE49-F238E27FC236}">
                <a16:creationId xmlns:a16="http://schemas.microsoft.com/office/drawing/2014/main" id="{B3E654D7-E068-CA98-F69C-4A64325A6F09}"/>
              </a:ext>
            </a:extLst>
          </p:cNvPr>
          <p:cNvGrpSpPr/>
          <p:nvPr/>
        </p:nvGrpSpPr>
        <p:grpSpPr>
          <a:xfrm>
            <a:off x="234547" y="623779"/>
            <a:ext cx="11709360" cy="1463617"/>
            <a:chOff x="234547" y="623779"/>
            <a:chExt cx="11709360" cy="1463617"/>
          </a:xfrm>
        </p:grpSpPr>
        <p:cxnSp>
          <p:nvCxnSpPr>
            <p:cNvPr id="10" name="Straight Connector 9">
              <a:extLst>
                <a:ext uri="{FF2B5EF4-FFF2-40B4-BE49-F238E27FC236}">
                  <a16:creationId xmlns:a16="http://schemas.microsoft.com/office/drawing/2014/main" id="{CF3D5A04-1B6B-2FAE-BCAE-3D2A2FA72E5C}"/>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21" name="TextBox 20">
              <a:extLst>
                <a:ext uri="{FF2B5EF4-FFF2-40B4-BE49-F238E27FC236}">
                  <a16:creationId xmlns:a16="http://schemas.microsoft.com/office/drawing/2014/main" id="{D4CACDF6-20D3-DA53-9C0E-5D472953ECAB}"/>
                </a:ext>
              </a:extLst>
            </p:cNvPr>
            <p:cNvSpPr txBox="1"/>
            <p:nvPr/>
          </p:nvSpPr>
          <p:spPr>
            <a:xfrm>
              <a:off x="234547" y="1056986"/>
              <a:ext cx="4757048" cy="1030410"/>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800" dirty="0"/>
                <a:t>Besoins  Fonctionnels</a:t>
              </a:r>
              <a:endParaRPr lang="en-GB" sz="4800" dirty="0"/>
            </a:p>
          </p:txBody>
        </p:sp>
      </p:grpSp>
      <p:sp>
        <p:nvSpPr>
          <p:cNvPr id="35" name="Rounded Rectangle 26">
            <a:extLst>
              <a:ext uri="{FF2B5EF4-FFF2-40B4-BE49-F238E27FC236}">
                <a16:creationId xmlns:a16="http://schemas.microsoft.com/office/drawing/2014/main" id="{B9247D74-AA07-3BDB-5C12-75F64D05C649}"/>
              </a:ext>
            </a:extLst>
          </p:cNvPr>
          <p:cNvSpPr/>
          <p:nvPr/>
        </p:nvSpPr>
        <p:spPr>
          <a:xfrm>
            <a:off x="8409882" y="4416418"/>
            <a:ext cx="2569500" cy="587606"/>
          </a:xfrm>
          <a:prstGeom prst="roundRect">
            <a:avLst>
              <a:gd name="adj" fmla="val 19239"/>
            </a:avLst>
          </a:prstGeom>
          <a:solidFill>
            <a:schemeClr val="bg1">
              <a:alpha val="20000"/>
            </a:schemeClr>
          </a:solidFill>
          <a:ln w="6350">
            <a:solidFill>
              <a:schemeClr val="bg1">
                <a:alpha val="25000"/>
              </a:schemeClr>
            </a:solidFill>
          </a:ln>
        </p:spPr>
        <p:txBody>
          <a:bodyPr vert="horz" wrap="none" lIns="91440" tIns="45720" rIns="91440" bIns="45720" rtlCol="0" anchor="ctr"/>
          <a:lstStyle/>
          <a:p>
            <a:pPr algn="ctr"/>
            <a:r>
              <a:rPr lang="fr-FR" sz="2000" dirty="0">
                <a:solidFill>
                  <a:schemeClr val="bg1"/>
                </a:solidFill>
                <a:latin typeface="Darker Grotesque SemiBold" pitchFamily="2" charset="0"/>
              </a:rPr>
              <a:t>Suivi des réservation</a:t>
            </a:r>
            <a:endParaRPr lang="en-GB" sz="2000" dirty="0">
              <a:solidFill>
                <a:schemeClr val="bg1"/>
              </a:solidFill>
              <a:latin typeface="Darker Grotesque SemiBold" pitchFamily="2" charset="0"/>
            </a:endParaRPr>
          </a:p>
        </p:txBody>
      </p:sp>
      <p:sp>
        <p:nvSpPr>
          <p:cNvPr id="36" name="Rounded Rectangle 26">
            <a:extLst>
              <a:ext uri="{FF2B5EF4-FFF2-40B4-BE49-F238E27FC236}">
                <a16:creationId xmlns:a16="http://schemas.microsoft.com/office/drawing/2014/main" id="{40712F3C-542C-DA24-D34B-FB09DACC405A}"/>
              </a:ext>
            </a:extLst>
          </p:cNvPr>
          <p:cNvSpPr/>
          <p:nvPr/>
        </p:nvSpPr>
        <p:spPr>
          <a:xfrm>
            <a:off x="8409882" y="2841394"/>
            <a:ext cx="2569500" cy="587606"/>
          </a:xfrm>
          <a:prstGeom prst="roundRect">
            <a:avLst>
              <a:gd name="adj" fmla="val 19239"/>
            </a:avLst>
          </a:prstGeom>
          <a:solidFill>
            <a:schemeClr val="bg1"/>
          </a:solidFill>
          <a:ln w="6350">
            <a:noFill/>
          </a:ln>
          <a:effectLst>
            <a:outerShdw blurRad="1270000" algn="ctr" rotWithShape="0">
              <a:schemeClr val="bg1"/>
            </a:outerShdw>
          </a:effectLst>
        </p:spPr>
        <p:txBody>
          <a:bodyPr vert="horz" wrap="none" lIns="91440" tIns="45720" rIns="91440" bIns="45720" rtlCol="0" anchor="ctr"/>
          <a:lstStyle/>
          <a:p>
            <a:pPr algn="ctr"/>
            <a:r>
              <a:rPr lang="fr-FR" sz="2000" dirty="0">
                <a:solidFill>
                  <a:srgbClr val="484525"/>
                </a:solidFill>
                <a:latin typeface="Darker Grotesque SemiBold" pitchFamily="2" charset="0"/>
              </a:rPr>
              <a:t>Gestion des services</a:t>
            </a:r>
            <a:endParaRPr lang="en-GB" sz="2000" dirty="0">
              <a:solidFill>
                <a:srgbClr val="484525"/>
              </a:solidFill>
              <a:latin typeface="Darker Grotesque SemiBold" pitchFamily="2" charset="0"/>
            </a:endParaRPr>
          </a:p>
        </p:txBody>
      </p:sp>
      <p:sp>
        <p:nvSpPr>
          <p:cNvPr id="38" name="Rounded Rectangle 26">
            <a:extLst>
              <a:ext uri="{FF2B5EF4-FFF2-40B4-BE49-F238E27FC236}">
                <a16:creationId xmlns:a16="http://schemas.microsoft.com/office/drawing/2014/main" id="{7F9F1528-0B26-72CA-2370-C8C0590AD0E8}"/>
              </a:ext>
            </a:extLst>
          </p:cNvPr>
          <p:cNvSpPr/>
          <p:nvPr/>
        </p:nvSpPr>
        <p:spPr>
          <a:xfrm>
            <a:off x="997185" y="4390906"/>
            <a:ext cx="2569500" cy="587606"/>
          </a:xfrm>
          <a:prstGeom prst="roundRect">
            <a:avLst>
              <a:gd name="adj" fmla="val 19239"/>
            </a:avLst>
          </a:prstGeom>
          <a:solidFill>
            <a:schemeClr val="bg1"/>
          </a:solidFill>
          <a:ln w="6350">
            <a:noFill/>
          </a:ln>
          <a:effectLst>
            <a:outerShdw blurRad="1270000" algn="ctr" rotWithShape="0">
              <a:schemeClr val="bg1"/>
            </a:outerShdw>
          </a:effectLst>
        </p:spPr>
        <p:txBody>
          <a:bodyPr vert="horz" wrap="none" lIns="91440" tIns="45720" rIns="91440" bIns="45720" rtlCol="0" anchor="ctr"/>
          <a:lstStyle/>
          <a:p>
            <a:pPr algn="ctr"/>
            <a:r>
              <a:rPr lang="fr-FR" sz="2000" dirty="0">
                <a:solidFill>
                  <a:srgbClr val="484525"/>
                </a:solidFill>
                <a:latin typeface="Darker Grotesque SemiBold" pitchFamily="2" charset="0"/>
              </a:rPr>
              <a:t>Facturation </a:t>
            </a:r>
          </a:p>
          <a:p>
            <a:pPr algn="ctr"/>
            <a:r>
              <a:rPr lang="fr-FR" sz="2000" dirty="0">
                <a:solidFill>
                  <a:srgbClr val="484525"/>
                </a:solidFill>
                <a:latin typeface="Darker Grotesque SemiBold" pitchFamily="2" charset="0"/>
              </a:rPr>
              <a:t>automatique</a:t>
            </a:r>
            <a:endParaRPr lang="en-GB" sz="2000" dirty="0">
              <a:solidFill>
                <a:srgbClr val="484525"/>
              </a:solidFill>
              <a:latin typeface="Darker Grotesque SemiBold" pitchFamily="2" charset="0"/>
            </a:endParaRPr>
          </a:p>
        </p:txBody>
      </p:sp>
      <p:sp>
        <p:nvSpPr>
          <p:cNvPr id="41" name="Rounded Rectangle 26">
            <a:extLst>
              <a:ext uri="{FF2B5EF4-FFF2-40B4-BE49-F238E27FC236}">
                <a16:creationId xmlns:a16="http://schemas.microsoft.com/office/drawing/2014/main" id="{74D2A98E-F702-1BDB-10CA-FB656BF0DE05}"/>
              </a:ext>
            </a:extLst>
          </p:cNvPr>
          <p:cNvSpPr/>
          <p:nvPr/>
        </p:nvSpPr>
        <p:spPr>
          <a:xfrm>
            <a:off x="997185" y="2841394"/>
            <a:ext cx="2569500" cy="587606"/>
          </a:xfrm>
          <a:prstGeom prst="roundRect">
            <a:avLst>
              <a:gd name="adj" fmla="val 19239"/>
            </a:avLst>
          </a:prstGeom>
          <a:solidFill>
            <a:schemeClr val="bg1">
              <a:alpha val="20000"/>
            </a:schemeClr>
          </a:solidFill>
          <a:ln w="6350">
            <a:solidFill>
              <a:schemeClr val="bg1">
                <a:alpha val="25000"/>
              </a:schemeClr>
            </a:solidFill>
          </a:ln>
        </p:spPr>
        <p:txBody>
          <a:bodyPr vert="horz" wrap="none" lIns="91440" tIns="45720" rIns="91440" bIns="45720" rtlCol="0" anchor="ctr"/>
          <a:lstStyle/>
          <a:p>
            <a:pPr algn="ctr"/>
            <a:r>
              <a:rPr lang="fr-FR" sz="2000" dirty="0">
                <a:solidFill>
                  <a:schemeClr val="bg1"/>
                </a:solidFill>
                <a:latin typeface="Darker Grotesque SemiBold" pitchFamily="2" charset="0"/>
              </a:rPr>
              <a:t>authentification</a:t>
            </a:r>
            <a:endParaRPr lang="en-GB" sz="2000" dirty="0">
              <a:solidFill>
                <a:schemeClr val="bg1"/>
              </a:solidFill>
              <a:latin typeface="Darker Grotesque SemiBold" pitchFamily="2" charset="0"/>
            </a:endParaRPr>
          </a:p>
        </p:txBody>
      </p:sp>
      <p:pic>
        <p:nvPicPr>
          <p:cNvPr id="42" name="Graphic 41" descr="User">
            <a:extLst>
              <a:ext uri="{FF2B5EF4-FFF2-40B4-BE49-F238E27FC236}">
                <a16:creationId xmlns:a16="http://schemas.microsoft.com/office/drawing/2014/main" id="{69EFFF7A-950B-1E07-3450-805EC6CDBE0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97697" y="2965674"/>
            <a:ext cx="2196605" cy="2196605"/>
          </a:xfrm>
          <a:prstGeom prst="rect">
            <a:avLst/>
          </a:prstGeom>
        </p:spPr>
      </p:pic>
      <p:sp>
        <p:nvSpPr>
          <p:cNvPr id="44" name="TextBox 43">
            <a:extLst>
              <a:ext uri="{FF2B5EF4-FFF2-40B4-BE49-F238E27FC236}">
                <a16:creationId xmlns:a16="http://schemas.microsoft.com/office/drawing/2014/main" id="{E66F66E4-2E46-7DB9-0234-250C4DB64E1A}"/>
              </a:ext>
            </a:extLst>
          </p:cNvPr>
          <p:cNvSpPr txBox="1"/>
          <p:nvPr/>
        </p:nvSpPr>
        <p:spPr>
          <a:xfrm>
            <a:off x="4910197" y="4978512"/>
            <a:ext cx="2470553" cy="504754"/>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000" dirty="0"/>
              <a:t>prestataire</a:t>
            </a:r>
            <a:endParaRPr lang="en-GB" sz="4000" dirty="0"/>
          </a:p>
        </p:txBody>
      </p:sp>
      <p:cxnSp>
        <p:nvCxnSpPr>
          <p:cNvPr id="48" name="Straight Connector 47">
            <a:extLst>
              <a:ext uri="{FF2B5EF4-FFF2-40B4-BE49-F238E27FC236}">
                <a16:creationId xmlns:a16="http://schemas.microsoft.com/office/drawing/2014/main" id="{6118F90F-9E4B-60CB-2F97-696FA42720AF}"/>
              </a:ext>
            </a:extLst>
          </p:cNvPr>
          <p:cNvCxnSpPr>
            <a:cxnSpLocks/>
            <a:stCxn id="42" idx="3"/>
          </p:cNvCxnSpPr>
          <p:nvPr/>
        </p:nvCxnSpPr>
        <p:spPr>
          <a:xfrm flipV="1">
            <a:off x="7194302" y="3429001"/>
            <a:ext cx="1117873" cy="634976"/>
          </a:xfrm>
          <a:prstGeom prst="line">
            <a:avLst/>
          </a:prstGeom>
          <a:ln w="19050" cap="flat" cmpd="sng" algn="ctr">
            <a:solidFill>
              <a:schemeClr val="bg1"/>
            </a:solidFill>
            <a:prstDash val="solid"/>
            <a:round/>
            <a:headEnd type="none" w="med" len="med"/>
            <a:tailEnd type="arrow" w="med" len="med"/>
          </a:ln>
          <a:effectLst>
            <a:glow rad="63500">
              <a:schemeClr val="bg1">
                <a:alpha val="40000"/>
              </a:schemeClr>
            </a:glow>
          </a:effectLst>
        </p:spPr>
        <p:style>
          <a:lnRef idx="0">
            <a:scrgbClr r="0" g="0" b="0"/>
          </a:lnRef>
          <a:fillRef idx="0">
            <a:scrgbClr r="0" g="0" b="0"/>
          </a:fillRef>
          <a:effectRef idx="0">
            <a:scrgbClr r="0" g="0" b="0"/>
          </a:effectRef>
          <a:fontRef idx="minor">
            <a:schemeClr val="tx1"/>
          </a:fontRef>
        </p:style>
      </p:cxnSp>
      <p:cxnSp>
        <p:nvCxnSpPr>
          <p:cNvPr id="53" name="Straight Connector 52">
            <a:extLst>
              <a:ext uri="{FF2B5EF4-FFF2-40B4-BE49-F238E27FC236}">
                <a16:creationId xmlns:a16="http://schemas.microsoft.com/office/drawing/2014/main" id="{9C7ACBD6-A374-1D72-034E-6C2FE195C845}"/>
              </a:ext>
            </a:extLst>
          </p:cNvPr>
          <p:cNvCxnSpPr>
            <a:cxnSpLocks/>
            <a:stCxn id="42" idx="3"/>
          </p:cNvCxnSpPr>
          <p:nvPr/>
        </p:nvCxnSpPr>
        <p:spPr>
          <a:xfrm>
            <a:off x="7194302" y="4063977"/>
            <a:ext cx="1117873" cy="615098"/>
          </a:xfrm>
          <a:prstGeom prst="line">
            <a:avLst/>
          </a:prstGeom>
          <a:ln w="19050" cap="flat" cmpd="sng" algn="ctr">
            <a:solidFill>
              <a:schemeClr val="bg1"/>
            </a:solidFill>
            <a:prstDash val="solid"/>
            <a:round/>
            <a:headEnd type="none" w="med" len="med"/>
            <a:tailEnd type="arrow" w="med" len="med"/>
          </a:ln>
          <a:effectLst>
            <a:glow rad="63500">
              <a:schemeClr val="bg1">
                <a:alpha val="40000"/>
              </a:schemeClr>
            </a:glow>
          </a:effectLst>
        </p:spPr>
        <p:style>
          <a:lnRef idx="0">
            <a:scrgbClr r="0" g="0" b="0"/>
          </a:lnRef>
          <a:fillRef idx="0">
            <a:scrgbClr r="0" g="0" b="0"/>
          </a:fillRef>
          <a:effectRef idx="0">
            <a:scrgbClr r="0" g="0" b="0"/>
          </a:effectRef>
          <a:fontRef idx="minor">
            <a:schemeClr val="tx1"/>
          </a:fontRef>
        </p:style>
      </p:cxnSp>
      <p:cxnSp>
        <p:nvCxnSpPr>
          <p:cNvPr id="61" name="Straight Connector 60">
            <a:extLst>
              <a:ext uri="{FF2B5EF4-FFF2-40B4-BE49-F238E27FC236}">
                <a16:creationId xmlns:a16="http://schemas.microsoft.com/office/drawing/2014/main" id="{CAEB3257-658D-A0DD-A59D-84705D1A7AFC}"/>
              </a:ext>
            </a:extLst>
          </p:cNvPr>
          <p:cNvCxnSpPr>
            <a:cxnSpLocks/>
          </p:cNvCxnSpPr>
          <p:nvPr/>
        </p:nvCxnSpPr>
        <p:spPr>
          <a:xfrm flipH="1" flipV="1">
            <a:off x="4022939" y="3261197"/>
            <a:ext cx="982006" cy="728528"/>
          </a:xfrm>
          <a:prstGeom prst="line">
            <a:avLst/>
          </a:prstGeom>
          <a:ln w="19050" cap="flat" cmpd="sng" algn="ctr">
            <a:solidFill>
              <a:schemeClr val="bg1"/>
            </a:solidFill>
            <a:prstDash val="solid"/>
            <a:round/>
            <a:headEnd type="none" w="med" len="med"/>
            <a:tailEnd type="arrow" w="med" len="med"/>
          </a:ln>
          <a:effectLst>
            <a:glow rad="63500">
              <a:schemeClr val="bg1">
                <a:alpha val="40000"/>
              </a:schemeClr>
            </a:glow>
          </a:effectLst>
        </p:spPr>
        <p:style>
          <a:lnRef idx="0">
            <a:scrgbClr r="0" g="0" b="0"/>
          </a:lnRef>
          <a:fillRef idx="0">
            <a:scrgbClr r="0" g="0" b="0"/>
          </a:fillRef>
          <a:effectRef idx="0">
            <a:scrgbClr r="0" g="0" b="0"/>
          </a:effectRef>
          <a:fontRef idx="minor">
            <a:schemeClr val="tx1"/>
          </a:fontRef>
        </p:style>
      </p:cxnSp>
      <p:cxnSp>
        <p:nvCxnSpPr>
          <p:cNvPr id="62" name="Straight Connector 61">
            <a:extLst>
              <a:ext uri="{FF2B5EF4-FFF2-40B4-BE49-F238E27FC236}">
                <a16:creationId xmlns:a16="http://schemas.microsoft.com/office/drawing/2014/main" id="{0C0F1EE5-6888-83DA-CEF7-4E2323928C54}"/>
              </a:ext>
            </a:extLst>
          </p:cNvPr>
          <p:cNvCxnSpPr>
            <a:cxnSpLocks/>
          </p:cNvCxnSpPr>
          <p:nvPr/>
        </p:nvCxnSpPr>
        <p:spPr>
          <a:xfrm flipH="1">
            <a:off x="4000500" y="3989724"/>
            <a:ext cx="1004446" cy="780881"/>
          </a:xfrm>
          <a:prstGeom prst="line">
            <a:avLst/>
          </a:prstGeom>
          <a:ln w="19050" cap="flat" cmpd="sng" algn="ctr">
            <a:solidFill>
              <a:schemeClr val="bg1"/>
            </a:solidFill>
            <a:prstDash val="solid"/>
            <a:round/>
            <a:headEnd type="none" w="med" len="med"/>
            <a:tailEnd type="arrow" w="med" len="med"/>
          </a:ln>
          <a:effectLst>
            <a:glow rad="63500">
              <a:schemeClr val="bg1">
                <a:alpha val="40000"/>
              </a:schemeClr>
            </a:glow>
          </a:effectLst>
        </p:spPr>
        <p:style>
          <a:lnRef idx="0">
            <a:scrgbClr r="0" g="0" b="0"/>
          </a:lnRef>
          <a:fillRef idx="0">
            <a:scrgbClr r="0" g="0" b="0"/>
          </a:fillRef>
          <a:effectRef idx="0">
            <a:scrgbClr r="0" g="0" b="0"/>
          </a:effectRef>
          <a:fontRef idx="minor">
            <a:schemeClr val="tx1"/>
          </a:fontRef>
        </p:style>
      </p:cxnSp>
      <p:sp>
        <p:nvSpPr>
          <p:cNvPr id="34" name="Rounded Rectangle 26">
            <a:extLst>
              <a:ext uri="{FF2B5EF4-FFF2-40B4-BE49-F238E27FC236}">
                <a16:creationId xmlns:a16="http://schemas.microsoft.com/office/drawing/2014/main" id="{14B5E8EE-E448-A67F-3F48-7C70576A4483}"/>
              </a:ext>
            </a:extLst>
          </p:cNvPr>
          <p:cNvSpPr/>
          <p:nvPr/>
        </p:nvSpPr>
        <p:spPr>
          <a:xfrm>
            <a:off x="4811250" y="1912615"/>
            <a:ext cx="2569500" cy="587606"/>
          </a:xfrm>
          <a:prstGeom prst="roundRect">
            <a:avLst>
              <a:gd name="adj" fmla="val 19239"/>
            </a:avLst>
          </a:prstGeom>
          <a:solidFill>
            <a:schemeClr val="bg1"/>
          </a:solidFill>
          <a:ln w="6350">
            <a:noFill/>
          </a:ln>
          <a:effectLst>
            <a:outerShdw blurRad="1270000" algn="ctr" rotWithShape="0">
              <a:schemeClr val="bg1"/>
            </a:outerShdw>
          </a:effectLst>
        </p:spPr>
        <p:txBody>
          <a:bodyPr vert="horz" wrap="none" lIns="91440" tIns="45720" rIns="91440" bIns="45720" rtlCol="0" anchor="ctr"/>
          <a:lstStyle/>
          <a:p>
            <a:pPr algn="ctr"/>
            <a:r>
              <a:rPr lang="fr-FR" sz="2000" dirty="0">
                <a:solidFill>
                  <a:srgbClr val="484525"/>
                </a:solidFill>
                <a:latin typeface="Darker Grotesque SemiBold" pitchFamily="2" charset="0"/>
              </a:rPr>
              <a:t>Dashboard</a:t>
            </a:r>
            <a:endParaRPr lang="en-GB" sz="2000" dirty="0">
              <a:solidFill>
                <a:srgbClr val="484525"/>
              </a:solidFill>
              <a:latin typeface="Darker Grotesque SemiBold" pitchFamily="2" charset="0"/>
            </a:endParaRPr>
          </a:p>
        </p:txBody>
      </p:sp>
      <p:cxnSp>
        <p:nvCxnSpPr>
          <p:cNvPr id="43" name="Straight Connector 42">
            <a:extLst>
              <a:ext uri="{FF2B5EF4-FFF2-40B4-BE49-F238E27FC236}">
                <a16:creationId xmlns:a16="http://schemas.microsoft.com/office/drawing/2014/main" id="{60671BB3-1824-688E-E78C-F1B0D8295B20}"/>
              </a:ext>
            </a:extLst>
          </p:cNvPr>
          <p:cNvCxnSpPr>
            <a:cxnSpLocks/>
          </p:cNvCxnSpPr>
          <p:nvPr/>
        </p:nvCxnSpPr>
        <p:spPr>
          <a:xfrm flipV="1">
            <a:off x="6096000" y="2603500"/>
            <a:ext cx="0" cy="574669"/>
          </a:xfrm>
          <a:prstGeom prst="line">
            <a:avLst/>
          </a:prstGeom>
          <a:ln w="19050" cap="flat" cmpd="sng" algn="ctr">
            <a:solidFill>
              <a:schemeClr val="bg1"/>
            </a:solidFill>
            <a:prstDash val="solid"/>
            <a:round/>
            <a:headEnd type="none" w="med" len="med"/>
            <a:tailEnd type="arrow" w="med" len="med"/>
          </a:ln>
          <a:effectLst>
            <a:glow rad="63500">
              <a:schemeClr val="bg1">
                <a:alpha val="40000"/>
              </a:schemeClr>
            </a:glow>
          </a:effectLst>
        </p:spPr>
        <p:style>
          <a:lnRef idx="0">
            <a:scrgbClr r="0" g="0" b="0"/>
          </a:lnRef>
          <a:fillRef idx="0">
            <a:scrgbClr r="0" g="0" b="0"/>
          </a:fillRef>
          <a:effectRef idx="0">
            <a:scrgbClr r="0" g="0" b="0"/>
          </a:effectRef>
          <a:fontRef idx="minor">
            <a:schemeClr val="tx1"/>
          </a:fontRef>
        </p:style>
      </p:cxnSp>
      <p:sp>
        <p:nvSpPr>
          <p:cNvPr id="3" name="TextBox 1">
            <a:extLst>
              <a:ext uri="{FF2B5EF4-FFF2-40B4-BE49-F238E27FC236}">
                <a16:creationId xmlns:a16="http://schemas.microsoft.com/office/drawing/2014/main" id="{C393265C-DAEB-B174-26F4-1588D4ED4846}"/>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sp>
        <p:nvSpPr>
          <p:cNvPr id="5" name="TextBox 1">
            <a:extLst>
              <a:ext uri="{FF2B5EF4-FFF2-40B4-BE49-F238E27FC236}">
                <a16:creationId xmlns:a16="http://schemas.microsoft.com/office/drawing/2014/main" id="{06825FAD-3701-1A6A-E713-4BC6E2AB0C5B}"/>
              </a:ext>
            </a:extLst>
          </p:cNvPr>
          <p:cNvSpPr txBox="1"/>
          <p:nvPr/>
        </p:nvSpPr>
        <p:spPr>
          <a:xfrm>
            <a:off x="908648" y="407551"/>
            <a:ext cx="945772"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technique</a:t>
            </a:r>
          </a:p>
        </p:txBody>
      </p:sp>
      <p:sp>
        <p:nvSpPr>
          <p:cNvPr id="6" name="Oval 59">
            <a:extLst>
              <a:ext uri="{FF2B5EF4-FFF2-40B4-BE49-F238E27FC236}">
                <a16:creationId xmlns:a16="http://schemas.microsoft.com/office/drawing/2014/main" id="{C6257FCE-2C8D-AF1A-D1B5-4112BBB0C9EF}"/>
              </a:ext>
            </a:extLst>
          </p:cNvPr>
          <p:cNvSpPr/>
          <p:nvPr/>
        </p:nvSpPr>
        <p:spPr>
          <a:xfrm>
            <a:off x="5842207" y="369986"/>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7" name="Graphic 60">
            <a:extLst>
              <a:ext uri="{FF2B5EF4-FFF2-40B4-BE49-F238E27FC236}">
                <a16:creationId xmlns:a16="http://schemas.microsoft.com/office/drawing/2014/main" id="{D4376CC9-E338-2C4E-24F3-C865AE604A5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70000" y="497779"/>
            <a:ext cx="252000" cy="252000"/>
          </a:xfrm>
          <a:prstGeom prst="rect">
            <a:avLst/>
          </a:prstGeom>
        </p:spPr>
      </p:pic>
      <p:sp>
        <p:nvSpPr>
          <p:cNvPr id="2" name="Rectangle 1">
            <a:extLst>
              <a:ext uri="{FF2B5EF4-FFF2-40B4-BE49-F238E27FC236}">
                <a16:creationId xmlns:a16="http://schemas.microsoft.com/office/drawing/2014/main" id="{C09F1B3F-0AF8-4511-956F-BAD1F3438CD0}"/>
              </a:ext>
            </a:extLst>
          </p:cNvPr>
          <p:cNvSpPr/>
          <p:nvPr/>
        </p:nvSpPr>
        <p:spPr>
          <a:xfrm>
            <a:off x="11549706" y="6234221"/>
            <a:ext cx="601447" cy="584775"/>
          </a:xfrm>
          <a:prstGeom prst="rect">
            <a:avLst/>
          </a:prstGeom>
        </p:spPr>
        <p:txBody>
          <a:bodyPr wrap="none">
            <a:spAutoFit/>
          </a:bodyPr>
          <a:lstStyle/>
          <a:p>
            <a:r>
              <a:rPr lang="en-US"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20</a:t>
            </a:r>
            <a:endParaRPr lang="fr-TN" sz="3200" dirty="0"/>
          </a:p>
        </p:txBody>
      </p:sp>
    </p:spTree>
    <p:extLst>
      <p:ext uri="{BB962C8B-B14F-4D97-AF65-F5344CB8AC3E}">
        <p14:creationId xmlns:p14="http://schemas.microsoft.com/office/powerpoint/2010/main" val="231862987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D470096-ACD7-1592-119D-C102855C1D6D}"/>
              </a:ext>
            </a:extLst>
          </p:cNvPr>
          <p:cNvSpPr txBox="1"/>
          <p:nvPr/>
        </p:nvSpPr>
        <p:spPr>
          <a:xfrm>
            <a:off x="0" y="2320501"/>
            <a:ext cx="12191999" cy="2056845"/>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6300" kern="0" dirty="0">
                <a:solidFill>
                  <a:prstClr val="white"/>
                </a:solidFill>
                <a:latin typeface="Darker Grotesque" pitchFamily="2" charset="0"/>
              </a:rPr>
              <a:t>Introduction</a:t>
            </a:r>
            <a:endParaRPr kumimoji="0" lang="en-US" sz="16300" b="0" i="0" u="none" strike="noStrike" kern="0" cap="none" spc="0" normalizeH="0" baseline="0" noProof="0" dirty="0">
              <a:ln>
                <a:noFill/>
              </a:ln>
              <a:solidFill>
                <a:prstClr val="white"/>
              </a:solidFill>
              <a:effectLst/>
              <a:uLnTx/>
              <a:uFillTx/>
              <a:latin typeface="Darker Grotesque" pitchFamily="2" charset="0"/>
            </a:endParaRPr>
          </a:p>
        </p:txBody>
      </p:sp>
    </p:spTree>
    <p:custDataLst>
      <p:tags r:id="rId1"/>
    </p:custDataLst>
    <p:extLst>
      <p:ext uri="{BB962C8B-B14F-4D97-AF65-F5344CB8AC3E}">
        <p14:creationId xmlns:p14="http://schemas.microsoft.com/office/powerpoint/2010/main" val="978745888"/>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8524FAE-90ED-B32B-21F7-676C0CDD01F7}"/>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57" name="TextBox 56">
            <a:extLst>
              <a:ext uri="{FF2B5EF4-FFF2-40B4-BE49-F238E27FC236}">
                <a16:creationId xmlns:a16="http://schemas.microsoft.com/office/drawing/2014/main" id="{65C3EDB4-39A5-B89C-1ED3-8E30DE2A5782}"/>
              </a:ext>
            </a:extLst>
          </p:cNvPr>
          <p:cNvSpPr txBox="1"/>
          <p:nvPr/>
        </p:nvSpPr>
        <p:spPr>
          <a:xfrm>
            <a:off x="281745" y="969272"/>
            <a:ext cx="5195130" cy="1824474"/>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800" dirty="0"/>
              <a:t>Environnements Logiciels </a:t>
            </a:r>
          </a:p>
          <a:p>
            <a:br>
              <a:rPr lang="fr-FR" sz="4800" dirty="0"/>
            </a:br>
            <a:endParaRPr lang="en-GB" sz="4800" dirty="0"/>
          </a:p>
        </p:txBody>
      </p:sp>
      <p:grpSp>
        <p:nvGrpSpPr>
          <p:cNvPr id="59" name="!!financials">
            <a:extLst>
              <a:ext uri="{FF2B5EF4-FFF2-40B4-BE49-F238E27FC236}">
                <a16:creationId xmlns:a16="http://schemas.microsoft.com/office/drawing/2014/main" id="{9C0CFB6B-EE4B-3333-8811-4FA448482CCD}"/>
              </a:ext>
            </a:extLst>
          </p:cNvPr>
          <p:cNvGrpSpPr/>
          <p:nvPr/>
        </p:nvGrpSpPr>
        <p:grpSpPr>
          <a:xfrm>
            <a:off x="5842207" y="369986"/>
            <a:ext cx="507586" cy="507586"/>
            <a:chOff x="8769760" y="4481585"/>
            <a:chExt cx="507586" cy="507586"/>
          </a:xfrm>
        </p:grpSpPr>
        <p:sp>
          <p:nvSpPr>
            <p:cNvPr id="60" name="Oval 59">
              <a:extLst>
                <a:ext uri="{FF2B5EF4-FFF2-40B4-BE49-F238E27FC236}">
                  <a16:creationId xmlns:a16="http://schemas.microsoft.com/office/drawing/2014/main" id="{53EBAA0C-FB11-6D90-8773-672D676BB408}"/>
                </a:ext>
              </a:extLst>
            </p:cNvPr>
            <p:cNvSpPr/>
            <p:nvPr/>
          </p:nvSpPr>
          <p:spPr>
            <a:xfrm>
              <a:off x="8769760" y="4481585"/>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61" name="Graphic 60">
              <a:extLst>
                <a:ext uri="{FF2B5EF4-FFF2-40B4-BE49-F238E27FC236}">
                  <a16:creationId xmlns:a16="http://schemas.microsoft.com/office/drawing/2014/main" id="{EB7987F8-2A8B-2ACB-3FB4-3BEB12762AB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97553" y="4609378"/>
              <a:ext cx="252000" cy="252000"/>
            </a:xfrm>
            <a:prstGeom prst="rect">
              <a:avLst/>
            </a:prstGeom>
          </p:spPr>
        </p:pic>
      </p:grpSp>
      <p:pic>
        <p:nvPicPr>
          <p:cNvPr id="11" name="Picture 10">
            <a:extLst>
              <a:ext uri="{FF2B5EF4-FFF2-40B4-BE49-F238E27FC236}">
                <a16:creationId xmlns:a16="http://schemas.microsoft.com/office/drawing/2014/main" id="{59FBE1B0-D5F8-426A-A4C1-723D6365F177}"/>
              </a:ext>
            </a:extLst>
          </p:cNvPr>
          <p:cNvPicPr>
            <a:picLocks noChangeAspect="1"/>
          </p:cNvPicPr>
          <p:nvPr/>
        </p:nvPicPr>
        <p:blipFill>
          <a:blip r:embed="rId5"/>
          <a:stretch>
            <a:fillRect/>
          </a:stretch>
        </p:blipFill>
        <p:spPr>
          <a:xfrm>
            <a:off x="3481980" y="2570607"/>
            <a:ext cx="2072825" cy="2072825"/>
          </a:xfrm>
          <a:prstGeom prst="rect">
            <a:avLst/>
          </a:prstGeom>
        </p:spPr>
      </p:pic>
      <p:pic>
        <p:nvPicPr>
          <p:cNvPr id="13331" name="Picture 19" descr="Lucidchart Review 2025 - Features, Pricing, Hacks and Tips">
            <a:extLst>
              <a:ext uri="{FF2B5EF4-FFF2-40B4-BE49-F238E27FC236}">
                <a16:creationId xmlns:a16="http://schemas.microsoft.com/office/drawing/2014/main" id="{C32086E4-1E5E-4C5A-BC84-CDCB59B233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57475" y="2216186"/>
            <a:ext cx="2566575" cy="2566575"/>
          </a:xfrm>
          <a:prstGeom prst="rect">
            <a:avLst/>
          </a:prstGeom>
          <a:noFill/>
          <a:extLst>
            <a:ext uri="{909E8E84-426E-40DD-AFC4-6F175D3DCCD1}">
              <a14:hiddenFill xmlns:a14="http://schemas.microsoft.com/office/drawing/2010/main">
                <a:solidFill>
                  <a:srgbClr val="FFFFFF"/>
                </a:solidFill>
              </a14:hiddenFill>
            </a:ext>
          </a:extLst>
        </p:spPr>
      </p:pic>
      <p:pic>
        <p:nvPicPr>
          <p:cNvPr id="13333" name="Picture 21" descr="如何将Python程序源代码导入LaTeX中并输出PDF? - 知乎">
            <a:extLst>
              <a:ext uri="{FF2B5EF4-FFF2-40B4-BE49-F238E27FC236}">
                <a16:creationId xmlns:a16="http://schemas.microsoft.com/office/drawing/2014/main" id="{CD277C1B-14E3-4875-AD7A-9408580CFC1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26720" y="2357083"/>
            <a:ext cx="2286349" cy="2286349"/>
          </a:xfrm>
          <a:prstGeom prst="rect">
            <a:avLst/>
          </a:prstGeom>
          <a:noFill/>
          <a:extLst>
            <a:ext uri="{909E8E84-426E-40DD-AFC4-6F175D3DCCD1}">
              <a14:hiddenFill xmlns:a14="http://schemas.microsoft.com/office/drawing/2010/main">
                <a:solidFill>
                  <a:srgbClr val="FFFFFF"/>
                </a:solidFill>
              </a14:hiddenFill>
            </a:ext>
          </a:extLst>
        </p:spPr>
      </p:pic>
      <p:sp>
        <p:nvSpPr>
          <p:cNvPr id="101" name="TextBox 110">
            <a:extLst>
              <a:ext uri="{FF2B5EF4-FFF2-40B4-BE49-F238E27FC236}">
                <a16:creationId xmlns:a16="http://schemas.microsoft.com/office/drawing/2014/main" id="{CD7DE237-6CFA-418B-A8CC-033401B16E3C}"/>
              </a:ext>
            </a:extLst>
          </p:cNvPr>
          <p:cNvSpPr txBox="1"/>
          <p:nvPr/>
        </p:nvSpPr>
        <p:spPr>
          <a:xfrm>
            <a:off x="814046" y="4910230"/>
            <a:ext cx="1836663"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pPr>
            <a:r>
              <a:rPr lang="fr-FR" sz="2000" b="1" dirty="0">
                <a:solidFill>
                  <a:schemeClr val="bg1"/>
                </a:solidFill>
                <a:latin typeface="Darker Grotesque SemiBold" pitchFamily="2" charset="0"/>
              </a:rPr>
              <a:t>Android Studio</a:t>
            </a:r>
            <a:endParaRPr lang="en-US" sz="2000" b="1" dirty="0">
              <a:latin typeface="Georgia Pro Light" panose="02040302050405020303" pitchFamily="18" charset="0"/>
            </a:endParaRPr>
          </a:p>
        </p:txBody>
      </p:sp>
      <p:sp>
        <p:nvSpPr>
          <p:cNvPr id="102" name="TextBox 110">
            <a:extLst>
              <a:ext uri="{FF2B5EF4-FFF2-40B4-BE49-F238E27FC236}">
                <a16:creationId xmlns:a16="http://schemas.microsoft.com/office/drawing/2014/main" id="{F787A00D-1726-4D13-9E5A-CDF36671D63D}"/>
              </a:ext>
            </a:extLst>
          </p:cNvPr>
          <p:cNvSpPr txBox="1"/>
          <p:nvPr/>
        </p:nvSpPr>
        <p:spPr>
          <a:xfrm>
            <a:off x="3593287" y="4922090"/>
            <a:ext cx="1836663"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pPr>
            <a:r>
              <a:rPr lang="fr-FR" sz="2000" b="1" dirty="0">
                <a:solidFill>
                  <a:schemeClr val="bg1"/>
                </a:solidFill>
                <a:latin typeface="Darker Grotesque SemiBold" pitchFamily="2" charset="0"/>
              </a:rPr>
              <a:t>Trello</a:t>
            </a:r>
            <a:endParaRPr lang="en-US" sz="2000" b="1" dirty="0">
              <a:latin typeface="Georgia Pro Light" panose="02040302050405020303" pitchFamily="18" charset="0"/>
            </a:endParaRPr>
          </a:p>
        </p:txBody>
      </p:sp>
      <p:sp>
        <p:nvSpPr>
          <p:cNvPr id="103" name="TextBox 110">
            <a:extLst>
              <a:ext uri="{FF2B5EF4-FFF2-40B4-BE49-F238E27FC236}">
                <a16:creationId xmlns:a16="http://schemas.microsoft.com/office/drawing/2014/main" id="{96BAD4FE-F924-481B-8D57-002936E05ED1}"/>
              </a:ext>
            </a:extLst>
          </p:cNvPr>
          <p:cNvSpPr txBox="1"/>
          <p:nvPr/>
        </p:nvSpPr>
        <p:spPr>
          <a:xfrm>
            <a:off x="6372528" y="4910229"/>
            <a:ext cx="1836663"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pPr>
            <a:r>
              <a:rPr lang="fr-FR" sz="2000" b="1" dirty="0">
                <a:solidFill>
                  <a:schemeClr val="bg1"/>
                </a:solidFill>
                <a:latin typeface="Darker Grotesque SemiBold" pitchFamily="2" charset="0"/>
              </a:rPr>
              <a:t>Lucidchart</a:t>
            </a:r>
            <a:endParaRPr lang="en-US" sz="2000" b="1" dirty="0">
              <a:latin typeface="Georgia Pro Light" panose="02040302050405020303" pitchFamily="18" charset="0"/>
            </a:endParaRPr>
          </a:p>
        </p:txBody>
      </p:sp>
      <p:sp>
        <p:nvSpPr>
          <p:cNvPr id="104" name="TextBox 110">
            <a:extLst>
              <a:ext uri="{FF2B5EF4-FFF2-40B4-BE49-F238E27FC236}">
                <a16:creationId xmlns:a16="http://schemas.microsoft.com/office/drawing/2014/main" id="{5D2797D5-DF80-4E96-8F9D-FFF45AEFCF9F}"/>
              </a:ext>
            </a:extLst>
          </p:cNvPr>
          <p:cNvSpPr txBox="1"/>
          <p:nvPr/>
        </p:nvSpPr>
        <p:spPr>
          <a:xfrm>
            <a:off x="9541291" y="4920396"/>
            <a:ext cx="1836663"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pPr>
            <a:r>
              <a:rPr lang="fr-FR" sz="2000" b="1" dirty="0">
                <a:solidFill>
                  <a:schemeClr val="bg1"/>
                </a:solidFill>
                <a:latin typeface="Darker Grotesque SemiBold" pitchFamily="2" charset="0"/>
              </a:rPr>
              <a:t>Texpage</a:t>
            </a:r>
            <a:endParaRPr lang="en-US" sz="2000" b="1" dirty="0">
              <a:latin typeface="Georgia Pro Light" panose="02040302050405020303" pitchFamily="18" charset="0"/>
            </a:endParaRPr>
          </a:p>
        </p:txBody>
      </p:sp>
      <p:cxnSp>
        <p:nvCxnSpPr>
          <p:cNvPr id="105" name="Straight Connector 104">
            <a:extLst>
              <a:ext uri="{FF2B5EF4-FFF2-40B4-BE49-F238E27FC236}">
                <a16:creationId xmlns:a16="http://schemas.microsoft.com/office/drawing/2014/main" id="{314262A1-19FB-4900-B884-CCE9EBC98B3C}"/>
              </a:ext>
            </a:extLst>
          </p:cNvPr>
          <p:cNvCxnSpPr/>
          <p:nvPr/>
        </p:nvCxnSpPr>
        <p:spPr>
          <a:xfrm>
            <a:off x="299484" y="77103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3" name="TextBox 1">
            <a:extLst>
              <a:ext uri="{FF2B5EF4-FFF2-40B4-BE49-F238E27FC236}">
                <a16:creationId xmlns:a16="http://schemas.microsoft.com/office/drawing/2014/main" id="{59F6646C-4C96-9508-DEA8-CD11135FC238}"/>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sp>
        <p:nvSpPr>
          <p:cNvPr id="4" name="TextBox 1">
            <a:extLst>
              <a:ext uri="{FF2B5EF4-FFF2-40B4-BE49-F238E27FC236}">
                <a16:creationId xmlns:a16="http://schemas.microsoft.com/office/drawing/2014/main" id="{2D94542F-E41A-BC33-8B17-09073DB8B131}"/>
              </a:ext>
            </a:extLst>
          </p:cNvPr>
          <p:cNvSpPr txBox="1"/>
          <p:nvPr/>
        </p:nvSpPr>
        <p:spPr>
          <a:xfrm>
            <a:off x="908648" y="407551"/>
            <a:ext cx="945772"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technique</a:t>
            </a:r>
          </a:p>
        </p:txBody>
      </p:sp>
      <p:pic>
        <p:nvPicPr>
          <p:cNvPr id="4098" name="Picture 2" descr="File:Android Studio icon (2023).svg - Wikimedia Commons">
            <a:extLst>
              <a:ext uri="{FF2B5EF4-FFF2-40B4-BE49-F238E27FC236}">
                <a16:creationId xmlns:a16="http://schemas.microsoft.com/office/drawing/2014/main" id="{AEA5D182-5530-477D-A206-23B966496A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0293" y="2277284"/>
            <a:ext cx="2566575" cy="256657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2B47EC40-F8C8-44B0-A3F2-DC0FD20C03BF}"/>
              </a:ext>
            </a:extLst>
          </p:cNvPr>
          <p:cNvSpPr/>
          <p:nvPr/>
        </p:nvSpPr>
        <p:spPr>
          <a:xfrm>
            <a:off x="11515288" y="6273225"/>
            <a:ext cx="601447" cy="584775"/>
          </a:xfrm>
          <a:prstGeom prst="rect">
            <a:avLst/>
          </a:prstGeom>
        </p:spPr>
        <p:txBody>
          <a:bodyPr wrap="none">
            <a:spAutoFit/>
          </a:bodyPr>
          <a:lstStyle/>
          <a:p>
            <a:r>
              <a:rPr lang="en-US"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21</a:t>
            </a:r>
            <a:endParaRPr lang="fr-TN" sz="3200" dirty="0"/>
          </a:p>
        </p:txBody>
      </p:sp>
    </p:spTree>
    <p:extLst>
      <p:ext uri="{BB962C8B-B14F-4D97-AF65-F5344CB8AC3E}">
        <p14:creationId xmlns:p14="http://schemas.microsoft.com/office/powerpoint/2010/main" val="172610449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fade">
                                      <p:cBhvr>
                                        <p:cTn id="7" dur="500"/>
                                        <p:tgtEl>
                                          <p:spTgt spid="10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2"/>
                                        </p:tgtEl>
                                        <p:attrNameLst>
                                          <p:attrName>style.visibility</p:attrName>
                                        </p:attrNameLst>
                                      </p:cBhvr>
                                      <p:to>
                                        <p:strVal val="visible"/>
                                      </p:to>
                                    </p:set>
                                    <p:animEffect transition="in" filter="fade">
                                      <p:cBhvr>
                                        <p:cTn id="10" dur="500"/>
                                        <p:tgtEl>
                                          <p:spTgt spid="10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3"/>
                                        </p:tgtEl>
                                        <p:attrNameLst>
                                          <p:attrName>style.visibility</p:attrName>
                                        </p:attrNameLst>
                                      </p:cBhvr>
                                      <p:to>
                                        <p:strVal val="visible"/>
                                      </p:to>
                                    </p:set>
                                    <p:animEffect transition="in" filter="fade">
                                      <p:cBhvr>
                                        <p:cTn id="13" dur="500"/>
                                        <p:tgtEl>
                                          <p:spTgt spid="10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4"/>
                                        </p:tgtEl>
                                        <p:attrNameLst>
                                          <p:attrName>style.visibility</p:attrName>
                                        </p:attrNameLst>
                                      </p:cBhvr>
                                      <p:to>
                                        <p:strVal val="visible"/>
                                      </p:to>
                                    </p:set>
                                    <p:animEffect transition="in" filter="fade">
                                      <p:cBhvr>
                                        <p:cTn id="16" dur="50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p:bldP spid="102" grpId="0"/>
      <p:bldP spid="103" grpId="0"/>
      <p:bldP spid="104"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8524FAE-90ED-B32B-21F7-676C0CDD01F7}"/>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57" name="TextBox 56">
            <a:extLst>
              <a:ext uri="{FF2B5EF4-FFF2-40B4-BE49-F238E27FC236}">
                <a16:creationId xmlns:a16="http://schemas.microsoft.com/office/drawing/2014/main" id="{65C3EDB4-39A5-B89C-1ED3-8E30DE2A5782}"/>
              </a:ext>
            </a:extLst>
          </p:cNvPr>
          <p:cNvSpPr txBox="1"/>
          <p:nvPr/>
        </p:nvSpPr>
        <p:spPr>
          <a:xfrm>
            <a:off x="281745" y="969272"/>
            <a:ext cx="5195130" cy="938077"/>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800" dirty="0"/>
              <a:t>Langages et technologies </a:t>
            </a:r>
            <a:endParaRPr lang="en-GB" sz="4800" dirty="0"/>
          </a:p>
        </p:txBody>
      </p:sp>
      <p:grpSp>
        <p:nvGrpSpPr>
          <p:cNvPr id="59" name="!!financials">
            <a:extLst>
              <a:ext uri="{FF2B5EF4-FFF2-40B4-BE49-F238E27FC236}">
                <a16:creationId xmlns:a16="http://schemas.microsoft.com/office/drawing/2014/main" id="{9C0CFB6B-EE4B-3333-8811-4FA448482CCD}"/>
              </a:ext>
            </a:extLst>
          </p:cNvPr>
          <p:cNvGrpSpPr/>
          <p:nvPr/>
        </p:nvGrpSpPr>
        <p:grpSpPr>
          <a:xfrm>
            <a:off x="5842207" y="369986"/>
            <a:ext cx="507586" cy="507586"/>
            <a:chOff x="8769760" y="4481585"/>
            <a:chExt cx="507586" cy="507586"/>
          </a:xfrm>
        </p:grpSpPr>
        <p:sp>
          <p:nvSpPr>
            <p:cNvPr id="60" name="Oval 59">
              <a:extLst>
                <a:ext uri="{FF2B5EF4-FFF2-40B4-BE49-F238E27FC236}">
                  <a16:creationId xmlns:a16="http://schemas.microsoft.com/office/drawing/2014/main" id="{53EBAA0C-FB11-6D90-8773-672D676BB408}"/>
                </a:ext>
              </a:extLst>
            </p:cNvPr>
            <p:cNvSpPr/>
            <p:nvPr/>
          </p:nvSpPr>
          <p:spPr>
            <a:xfrm>
              <a:off x="8769760" y="4481585"/>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61" name="Graphic 60">
              <a:extLst>
                <a:ext uri="{FF2B5EF4-FFF2-40B4-BE49-F238E27FC236}">
                  <a16:creationId xmlns:a16="http://schemas.microsoft.com/office/drawing/2014/main" id="{EB7987F8-2A8B-2ACB-3FB4-3BEB12762AB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97553" y="4609378"/>
              <a:ext cx="252000" cy="252000"/>
            </a:xfrm>
            <a:prstGeom prst="rect">
              <a:avLst/>
            </a:prstGeom>
          </p:spPr>
        </p:pic>
      </p:grpSp>
      <p:pic>
        <p:nvPicPr>
          <p:cNvPr id="13335" name="Picture 23" descr="File:HTML5 logo and wordmark.svg - Wikipedia">
            <a:extLst>
              <a:ext uri="{FF2B5EF4-FFF2-40B4-BE49-F238E27FC236}">
                <a16:creationId xmlns:a16="http://schemas.microsoft.com/office/drawing/2014/main" id="{128D565D-7300-4183-B836-A86E02625F5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219" y="2494585"/>
            <a:ext cx="1818525" cy="1818525"/>
          </a:xfrm>
          <a:prstGeom prst="rect">
            <a:avLst/>
          </a:prstGeom>
          <a:noFill/>
          <a:extLst>
            <a:ext uri="{909E8E84-426E-40DD-AFC4-6F175D3DCCD1}">
              <a14:hiddenFill xmlns:a14="http://schemas.microsoft.com/office/drawing/2010/main">
                <a:solidFill>
                  <a:srgbClr val="FFFFFF"/>
                </a:solidFill>
              </a14:hiddenFill>
            </a:ext>
          </a:extLst>
        </p:spPr>
      </p:pic>
      <p:pic>
        <p:nvPicPr>
          <p:cNvPr id="13337" name="Picture 25" descr="CSS Logo PNG Transparent – Brands Logos">
            <a:extLst>
              <a:ext uri="{FF2B5EF4-FFF2-40B4-BE49-F238E27FC236}">
                <a16:creationId xmlns:a16="http://schemas.microsoft.com/office/drawing/2014/main" id="{EC94E84E-3C91-4CB7-9C6F-F8784A43F3D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44774" y="2452790"/>
            <a:ext cx="1349534" cy="1902117"/>
          </a:xfrm>
          <a:prstGeom prst="rect">
            <a:avLst/>
          </a:prstGeom>
          <a:noFill/>
          <a:extLst>
            <a:ext uri="{909E8E84-426E-40DD-AFC4-6F175D3DCCD1}">
              <a14:hiddenFill xmlns:a14="http://schemas.microsoft.com/office/drawing/2010/main">
                <a:solidFill>
                  <a:srgbClr val="FFFFFF"/>
                </a:solidFill>
              </a14:hiddenFill>
            </a:ext>
          </a:extLst>
        </p:spPr>
      </p:pic>
      <p:pic>
        <p:nvPicPr>
          <p:cNvPr id="13339" name="Picture 27" descr="JavaScript Logo, symbol, meaning, history, PNG, brand">
            <a:extLst>
              <a:ext uri="{FF2B5EF4-FFF2-40B4-BE49-F238E27FC236}">
                <a16:creationId xmlns:a16="http://schemas.microsoft.com/office/drawing/2014/main" id="{8B565D23-53D8-4775-A63E-1C15FCD237B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94166" y="2424179"/>
            <a:ext cx="3578077" cy="2009642"/>
          </a:xfrm>
          <a:prstGeom prst="rect">
            <a:avLst/>
          </a:prstGeom>
          <a:noFill/>
          <a:extLst>
            <a:ext uri="{909E8E84-426E-40DD-AFC4-6F175D3DCCD1}">
              <a14:hiddenFill xmlns:a14="http://schemas.microsoft.com/office/drawing/2010/main">
                <a:solidFill>
                  <a:srgbClr val="FFFFFF"/>
                </a:solidFill>
              </a14:hiddenFill>
            </a:ext>
          </a:extLst>
        </p:spPr>
      </p:pic>
      <p:pic>
        <p:nvPicPr>
          <p:cNvPr id="13357" name="Picture 45" descr="File:Dart-logo.png - Wikipedia">
            <a:extLst>
              <a:ext uri="{FF2B5EF4-FFF2-40B4-BE49-F238E27FC236}">
                <a16:creationId xmlns:a16="http://schemas.microsoft.com/office/drawing/2014/main" id="{BF56CD56-C738-4C4F-A684-3B6BB471E7F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53552" y="2712910"/>
            <a:ext cx="1777793" cy="1777793"/>
          </a:xfrm>
          <a:prstGeom prst="rect">
            <a:avLst/>
          </a:prstGeom>
          <a:noFill/>
          <a:extLst>
            <a:ext uri="{909E8E84-426E-40DD-AFC4-6F175D3DCCD1}">
              <a14:hiddenFill xmlns:a14="http://schemas.microsoft.com/office/drawing/2010/main">
                <a:solidFill>
                  <a:srgbClr val="FFFFFF"/>
                </a:solidFill>
              </a14:hiddenFill>
            </a:ext>
          </a:extLst>
        </p:spPr>
      </p:pic>
      <p:pic>
        <p:nvPicPr>
          <p:cNvPr id="13359" name="Picture 47" descr="Free Flutter Logo Icon - Free Download Logos Logo Icons | IconScout">
            <a:extLst>
              <a:ext uri="{FF2B5EF4-FFF2-40B4-BE49-F238E27FC236}">
                <a16:creationId xmlns:a16="http://schemas.microsoft.com/office/drawing/2014/main" id="{7702B678-23CD-4B46-9E2D-7B45AD169F2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71992" y="2760535"/>
            <a:ext cx="1673286" cy="167328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3" name="TextBox 110">
            <a:extLst>
              <a:ext uri="{FF2B5EF4-FFF2-40B4-BE49-F238E27FC236}">
                <a16:creationId xmlns:a16="http://schemas.microsoft.com/office/drawing/2014/main" id="{54FCB175-BDDB-4B68-A8CA-901AD7FD5A00}"/>
              </a:ext>
            </a:extLst>
          </p:cNvPr>
          <p:cNvSpPr txBox="1"/>
          <p:nvPr/>
        </p:nvSpPr>
        <p:spPr>
          <a:xfrm>
            <a:off x="92149" y="4796763"/>
            <a:ext cx="1836663"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pPr>
            <a:r>
              <a:rPr lang="fr-FR" sz="2000" b="1" dirty="0">
                <a:solidFill>
                  <a:schemeClr val="bg1"/>
                </a:solidFill>
                <a:latin typeface="Darker Grotesque SemiBold" pitchFamily="2" charset="0"/>
              </a:rPr>
              <a:t>HTML</a:t>
            </a:r>
            <a:endParaRPr lang="en-US" sz="2000" b="1" dirty="0">
              <a:latin typeface="Georgia Pro Light" panose="02040302050405020303" pitchFamily="18" charset="0"/>
            </a:endParaRPr>
          </a:p>
        </p:txBody>
      </p:sp>
      <p:sp>
        <p:nvSpPr>
          <p:cNvPr id="24" name="TextBox 110">
            <a:extLst>
              <a:ext uri="{FF2B5EF4-FFF2-40B4-BE49-F238E27FC236}">
                <a16:creationId xmlns:a16="http://schemas.microsoft.com/office/drawing/2014/main" id="{F711B7B1-46DA-4ABD-B3C2-55E3E0A5A20D}"/>
              </a:ext>
            </a:extLst>
          </p:cNvPr>
          <p:cNvSpPr txBox="1"/>
          <p:nvPr/>
        </p:nvSpPr>
        <p:spPr>
          <a:xfrm>
            <a:off x="1701209" y="4763585"/>
            <a:ext cx="1836663"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pPr>
            <a:r>
              <a:rPr lang="fr-FR" sz="2000" b="1" dirty="0">
                <a:solidFill>
                  <a:schemeClr val="bg1"/>
                </a:solidFill>
                <a:latin typeface="Darker Grotesque SemiBold" pitchFamily="2" charset="0"/>
              </a:rPr>
              <a:t>CSS</a:t>
            </a:r>
            <a:endParaRPr lang="en-US" sz="2000" b="1" dirty="0">
              <a:latin typeface="Georgia Pro Light" panose="02040302050405020303" pitchFamily="18" charset="0"/>
            </a:endParaRPr>
          </a:p>
        </p:txBody>
      </p:sp>
      <p:sp>
        <p:nvSpPr>
          <p:cNvPr id="25" name="TextBox 110">
            <a:extLst>
              <a:ext uri="{FF2B5EF4-FFF2-40B4-BE49-F238E27FC236}">
                <a16:creationId xmlns:a16="http://schemas.microsoft.com/office/drawing/2014/main" id="{7ED8FC02-55FC-467D-A121-7A64F0395073}"/>
              </a:ext>
            </a:extLst>
          </p:cNvPr>
          <p:cNvSpPr txBox="1"/>
          <p:nvPr/>
        </p:nvSpPr>
        <p:spPr>
          <a:xfrm>
            <a:off x="3264872" y="4691263"/>
            <a:ext cx="1836663"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pPr>
            <a:r>
              <a:rPr lang="fr-FR" sz="2000" b="1" dirty="0">
                <a:solidFill>
                  <a:schemeClr val="bg1"/>
                </a:solidFill>
                <a:latin typeface="Darker Grotesque SemiBold" pitchFamily="2" charset="0"/>
              </a:rPr>
              <a:t>JS</a:t>
            </a:r>
            <a:endParaRPr lang="en-US" sz="2000" b="1" dirty="0">
              <a:latin typeface="Georgia Pro Light" panose="02040302050405020303" pitchFamily="18" charset="0"/>
            </a:endParaRPr>
          </a:p>
        </p:txBody>
      </p:sp>
      <p:sp>
        <p:nvSpPr>
          <p:cNvPr id="27" name="TextBox 110">
            <a:extLst>
              <a:ext uri="{FF2B5EF4-FFF2-40B4-BE49-F238E27FC236}">
                <a16:creationId xmlns:a16="http://schemas.microsoft.com/office/drawing/2014/main" id="{6BAAA031-31EC-4E44-8408-2494F957140A}"/>
              </a:ext>
            </a:extLst>
          </p:cNvPr>
          <p:cNvSpPr txBox="1"/>
          <p:nvPr/>
        </p:nvSpPr>
        <p:spPr>
          <a:xfrm>
            <a:off x="6665198" y="4691263"/>
            <a:ext cx="1836663"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pPr>
            <a:r>
              <a:rPr lang="fr-FR" sz="2000" b="1" dirty="0">
                <a:solidFill>
                  <a:schemeClr val="bg1"/>
                </a:solidFill>
                <a:latin typeface="Darker Grotesque SemiBold" pitchFamily="2" charset="0"/>
              </a:rPr>
              <a:t>Flutter</a:t>
            </a:r>
            <a:endParaRPr lang="en-US" sz="2000" b="1" dirty="0">
              <a:latin typeface="Georgia Pro Light" panose="02040302050405020303" pitchFamily="18" charset="0"/>
            </a:endParaRPr>
          </a:p>
        </p:txBody>
      </p:sp>
      <p:sp>
        <p:nvSpPr>
          <p:cNvPr id="28" name="TextBox 110">
            <a:extLst>
              <a:ext uri="{FF2B5EF4-FFF2-40B4-BE49-F238E27FC236}">
                <a16:creationId xmlns:a16="http://schemas.microsoft.com/office/drawing/2014/main" id="{2EAF2E30-954B-4ED4-9523-F68140FF06DA}"/>
              </a:ext>
            </a:extLst>
          </p:cNvPr>
          <p:cNvSpPr txBox="1"/>
          <p:nvPr/>
        </p:nvSpPr>
        <p:spPr>
          <a:xfrm>
            <a:off x="8402956" y="4691263"/>
            <a:ext cx="1836663"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pPr>
            <a:r>
              <a:rPr lang="fr-FR" sz="2000" b="1" dirty="0">
                <a:solidFill>
                  <a:schemeClr val="bg1"/>
                </a:solidFill>
                <a:latin typeface="Darker Grotesque SemiBold" pitchFamily="2" charset="0"/>
              </a:rPr>
              <a:t>Dart</a:t>
            </a:r>
            <a:endParaRPr lang="en-US" sz="2000" b="1" dirty="0">
              <a:latin typeface="Georgia Pro Light" panose="02040302050405020303" pitchFamily="18" charset="0"/>
            </a:endParaRPr>
          </a:p>
        </p:txBody>
      </p:sp>
      <p:sp>
        <p:nvSpPr>
          <p:cNvPr id="3" name="TextBox 1">
            <a:extLst>
              <a:ext uri="{FF2B5EF4-FFF2-40B4-BE49-F238E27FC236}">
                <a16:creationId xmlns:a16="http://schemas.microsoft.com/office/drawing/2014/main" id="{FC9D16B2-63B7-F172-C882-D1C2417ABF6B}"/>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sp>
        <p:nvSpPr>
          <p:cNvPr id="4" name="TextBox 1">
            <a:extLst>
              <a:ext uri="{FF2B5EF4-FFF2-40B4-BE49-F238E27FC236}">
                <a16:creationId xmlns:a16="http://schemas.microsoft.com/office/drawing/2014/main" id="{AE236220-B277-68F9-D001-564F5D76E88F}"/>
              </a:ext>
            </a:extLst>
          </p:cNvPr>
          <p:cNvSpPr txBox="1"/>
          <p:nvPr/>
        </p:nvSpPr>
        <p:spPr>
          <a:xfrm>
            <a:off x="908648" y="407551"/>
            <a:ext cx="945772"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technique</a:t>
            </a:r>
          </a:p>
        </p:txBody>
      </p:sp>
      <p:pic>
        <p:nvPicPr>
          <p:cNvPr id="5" name="Picture 49" descr="Firebase icon logo in PNG and vector formats (SVG, AI)">
            <a:extLst>
              <a:ext uri="{FF2B5EF4-FFF2-40B4-BE49-F238E27FC236}">
                <a16:creationId xmlns:a16="http://schemas.microsoft.com/office/drawing/2014/main" id="{262856C7-9A21-264C-BCE3-D24091720E3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587571" y="2708663"/>
            <a:ext cx="1349535" cy="170268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110">
            <a:extLst>
              <a:ext uri="{FF2B5EF4-FFF2-40B4-BE49-F238E27FC236}">
                <a16:creationId xmlns:a16="http://schemas.microsoft.com/office/drawing/2014/main" id="{84465E09-D896-1A7D-85E3-5DD19A2A270A}"/>
              </a:ext>
            </a:extLst>
          </p:cNvPr>
          <p:cNvSpPr txBox="1"/>
          <p:nvPr/>
        </p:nvSpPr>
        <p:spPr>
          <a:xfrm>
            <a:off x="10400849" y="4676649"/>
            <a:ext cx="1576528"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pPr>
            <a:r>
              <a:rPr lang="fr-FR" sz="2000" b="1" dirty="0">
                <a:solidFill>
                  <a:schemeClr val="bg1"/>
                </a:solidFill>
                <a:latin typeface="Darker Grotesque SemiBold" pitchFamily="2" charset="0"/>
              </a:rPr>
              <a:t>FireBase</a:t>
            </a:r>
            <a:endParaRPr lang="en-US" sz="2000" b="1" dirty="0">
              <a:latin typeface="Georgia Pro Light" panose="02040302050405020303" pitchFamily="18" charset="0"/>
            </a:endParaRPr>
          </a:p>
        </p:txBody>
      </p:sp>
      <p:sp>
        <p:nvSpPr>
          <p:cNvPr id="2" name="Rectangle 1">
            <a:extLst>
              <a:ext uri="{FF2B5EF4-FFF2-40B4-BE49-F238E27FC236}">
                <a16:creationId xmlns:a16="http://schemas.microsoft.com/office/drawing/2014/main" id="{5CBE9BE3-0793-4082-BB50-21BAE1C4A0BF}"/>
              </a:ext>
            </a:extLst>
          </p:cNvPr>
          <p:cNvSpPr/>
          <p:nvPr/>
        </p:nvSpPr>
        <p:spPr>
          <a:xfrm>
            <a:off x="11541592" y="6234221"/>
            <a:ext cx="601447" cy="584775"/>
          </a:xfrm>
          <a:prstGeom prst="rect">
            <a:avLst/>
          </a:prstGeom>
        </p:spPr>
        <p:txBody>
          <a:bodyPr wrap="none">
            <a:spAutoFit/>
          </a:bodyPr>
          <a:lstStyle/>
          <a:p>
            <a:r>
              <a:rPr lang="en-US"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22</a:t>
            </a:r>
            <a:endParaRPr lang="fr-TN" sz="3200" dirty="0"/>
          </a:p>
        </p:txBody>
      </p:sp>
    </p:spTree>
    <p:extLst>
      <p:ext uri="{BB962C8B-B14F-4D97-AF65-F5344CB8AC3E}">
        <p14:creationId xmlns:p14="http://schemas.microsoft.com/office/powerpoint/2010/main" val="33299108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25" grpId="0"/>
      <p:bldP spid="27" grpId="0"/>
      <p:bldP spid="28" grpId="0"/>
      <p:bldP spid="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8524FAE-90ED-B32B-21F7-676C0CDD01F7}"/>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57" name="TextBox 56">
            <a:extLst>
              <a:ext uri="{FF2B5EF4-FFF2-40B4-BE49-F238E27FC236}">
                <a16:creationId xmlns:a16="http://schemas.microsoft.com/office/drawing/2014/main" id="{65C3EDB4-39A5-B89C-1ED3-8E30DE2A5782}"/>
              </a:ext>
            </a:extLst>
          </p:cNvPr>
          <p:cNvSpPr txBox="1"/>
          <p:nvPr/>
        </p:nvSpPr>
        <p:spPr>
          <a:xfrm>
            <a:off x="281744" y="969272"/>
            <a:ext cx="11157781" cy="938077"/>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800" dirty="0"/>
              <a:t>Démonstration </a:t>
            </a:r>
          </a:p>
          <a:p>
            <a:r>
              <a:rPr lang="fr-FR" sz="4800" dirty="0"/>
              <a:t>De Cabinoo</a:t>
            </a:r>
            <a:endParaRPr lang="en-GB" sz="4800" dirty="0"/>
          </a:p>
        </p:txBody>
      </p:sp>
      <p:grpSp>
        <p:nvGrpSpPr>
          <p:cNvPr id="59" name="!!financials">
            <a:extLst>
              <a:ext uri="{FF2B5EF4-FFF2-40B4-BE49-F238E27FC236}">
                <a16:creationId xmlns:a16="http://schemas.microsoft.com/office/drawing/2014/main" id="{9C0CFB6B-EE4B-3333-8811-4FA448482CCD}"/>
              </a:ext>
            </a:extLst>
          </p:cNvPr>
          <p:cNvGrpSpPr/>
          <p:nvPr/>
        </p:nvGrpSpPr>
        <p:grpSpPr>
          <a:xfrm>
            <a:off x="5842207" y="369986"/>
            <a:ext cx="507586" cy="507586"/>
            <a:chOff x="8769760" y="4481585"/>
            <a:chExt cx="507586" cy="507586"/>
          </a:xfrm>
        </p:grpSpPr>
        <p:sp>
          <p:nvSpPr>
            <p:cNvPr id="60" name="Oval 59">
              <a:extLst>
                <a:ext uri="{FF2B5EF4-FFF2-40B4-BE49-F238E27FC236}">
                  <a16:creationId xmlns:a16="http://schemas.microsoft.com/office/drawing/2014/main" id="{53EBAA0C-FB11-6D90-8773-672D676BB408}"/>
                </a:ext>
              </a:extLst>
            </p:cNvPr>
            <p:cNvSpPr/>
            <p:nvPr/>
          </p:nvSpPr>
          <p:spPr>
            <a:xfrm>
              <a:off x="8769760" y="4481585"/>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61" name="Graphic 60">
              <a:extLst>
                <a:ext uri="{FF2B5EF4-FFF2-40B4-BE49-F238E27FC236}">
                  <a16:creationId xmlns:a16="http://schemas.microsoft.com/office/drawing/2014/main" id="{EB7987F8-2A8B-2ACB-3FB4-3BEB12762AB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97553" y="4609378"/>
              <a:ext cx="252000" cy="252000"/>
            </a:xfrm>
            <a:prstGeom prst="rect">
              <a:avLst/>
            </a:prstGeom>
          </p:spPr>
        </p:pic>
      </p:grpSp>
      <p:sp>
        <p:nvSpPr>
          <p:cNvPr id="4" name="TextBox 1">
            <a:extLst>
              <a:ext uri="{FF2B5EF4-FFF2-40B4-BE49-F238E27FC236}">
                <a16:creationId xmlns:a16="http://schemas.microsoft.com/office/drawing/2014/main" id="{B44278FF-49B9-EF8B-1DFB-4A084F224156}"/>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sp>
        <p:nvSpPr>
          <p:cNvPr id="5" name="TextBox 1">
            <a:extLst>
              <a:ext uri="{FF2B5EF4-FFF2-40B4-BE49-F238E27FC236}">
                <a16:creationId xmlns:a16="http://schemas.microsoft.com/office/drawing/2014/main" id="{F6F668DD-33A7-71F8-43FB-C3FB52020989}"/>
              </a:ext>
            </a:extLst>
          </p:cNvPr>
          <p:cNvSpPr txBox="1"/>
          <p:nvPr/>
        </p:nvSpPr>
        <p:spPr>
          <a:xfrm>
            <a:off x="908648" y="407551"/>
            <a:ext cx="945772"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technique</a:t>
            </a:r>
          </a:p>
        </p:txBody>
      </p:sp>
      <p:sp>
        <p:nvSpPr>
          <p:cNvPr id="2" name="Rectangle 1">
            <a:extLst>
              <a:ext uri="{FF2B5EF4-FFF2-40B4-BE49-F238E27FC236}">
                <a16:creationId xmlns:a16="http://schemas.microsoft.com/office/drawing/2014/main" id="{C37CAB47-7D3B-4A5D-9EDE-B0B077DEDE39}"/>
              </a:ext>
            </a:extLst>
          </p:cNvPr>
          <p:cNvSpPr/>
          <p:nvPr/>
        </p:nvSpPr>
        <p:spPr>
          <a:xfrm>
            <a:off x="11439525" y="6273225"/>
            <a:ext cx="601447" cy="584775"/>
          </a:xfrm>
          <a:prstGeom prst="rect">
            <a:avLst/>
          </a:prstGeom>
        </p:spPr>
        <p:txBody>
          <a:bodyPr wrap="none">
            <a:spAutoFit/>
          </a:bodyPr>
          <a:lstStyle/>
          <a:p>
            <a:r>
              <a:rPr lang="en-US"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23</a:t>
            </a:r>
            <a:endParaRPr lang="fr-TN" sz="3200" dirty="0"/>
          </a:p>
        </p:txBody>
      </p:sp>
    </p:spTree>
    <p:extLst>
      <p:ext uri="{BB962C8B-B14F-4D97-AF65-F5344CB8AC3E}">
        <p14:creationId xmlns:p14="http://schemas.microsoft.com/office/powerpoint/2010/main" val="101848347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7ED41F-F907-8607-EA99-1DD59B311796}"/>
            </a:ext>
          </a:extLst>
        </p:cNvPr>
        <p:cNvGrpSpPr/>
        <p:nvPr/>
      </p:nvGrpSpPr>
      <p:grpSpPr>
        <a:xfrm>
          <a:off x="0" y="0"/>
          <a:ext cx="0" cy="0"/>
          <a:chOff x="0" y="0"/>
          <a:chExt cx="0" cy="0"/>
        </a:xfrm>
      </p:grpSpPr>
      <p:sp>
        <p:nvSpPr>
          <p:cNvPr id="2" name="TextBox 34">
            <a:extLst>
              <a:ext uri="{FF2B5EF4-FFF2-40B4-BE49-F238E27FC236}">
                <a16:creationId xmlns:a16="http://schemas.microsoft.com/office/drawing/2014/main" id="{BF1D8E33-729E-A404-513B-F853088FAEF4}"/>
              </a:ext>
            </a:extLst>
          </p:cNvPr>
          <p:cNvSpPr txBox="1"/>
          <p:nvPr/>
        </p:nvSpPr>
        <p:spPr>
          <a:xfrm>
            <a:off x="1244818" y="1319185"/>
            <a:ext cx="9867006" cy="183370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3800" b="0" i="0" u="none" strike="noStrike" kern="0" cap="none" spc="0" normalizeH="0" baseline="0" noProof="0" dirty="0">
                <a:ln>
                  <a:noFill/>
                </a:ln>
                <a:solidFill>
                  <a:prstClr val="white"/>
                </a:solidFill>
                <a:effectLst/>
                <a:uLnTx/>
                <a:uFillTx/>
                <a:latin typeface="Darker Grotesque" pitchFamily="2" charset="0"/>
              </a:rPr>
              <a:t>Etude </a:t>
            </a:r>
          </a:p>
        </p:txBody>
      </p:sp>
      <p:sp>
        <p:nvSpPr>
          <p:cNvPr id="3" name="TextBox 35">
            <a:extLst>
              <a:ext uri="{FF2B5EF4-FFF2-40B4-BE49-F238E27FC236}">
                <a16:creationId xmlns:a16="http://schemas.microsoft.com/office/drawing/2014/main" id="{71078043-DA21-D75F-D9B3-A67551833168}"/>
              </a:ext>
            </a:extLst>
          </p:cNvPr>
          <p:cNvSpPr txBox="1"/>
          <p:nvPr/>
        </p:nvSpPr>
        <p:spPr>
          <a:xfrm>
            <a:off x="1080320" y="3435417"/>
            <a:ext cx="9984107" cy="1833707"/>
          </a:xfrm>
          <a:prstGeom prst="rect">
            <a:avLst/>
          </a:prstGeom>
          <a:noFill/>
        </p:spPr>
        <p:txBody>
          <a:bodyPr wrap="square" rtlCol="0">
            <a:spAutoFit/>
          </a:bodyPr>
          <a:lstStyle/>
          <a:p>
            <a:pPr lvl="0" algn="ctr">
              <a:lnSpc>
                <a:spcPct val="80000"/>
              </a:lnSpc>
              <a:defRPr/>
            </a:pPr>
            <a:r>
              <a:rPr lang="fr-FR" sz="13800" kern="0" dirty="0">
                <a:solidFill>
                  <a:prstClr val="white"/>
                </a:solidFill>
                <a:latin typeface="Darker Grotesque" pitchFamily="2" charset="0"/>
              </a:rPr>
              <a:t>Financière</a:t>
            </a:r>
            <a:endParaRPr lang="en-US" sz="13800" kern="0" dirty="0">
              <a:solidFill>
                <a:prstClr val="white"/>
              </a:solidFill>
              <a:latin typeface="Darker Grotesque" pitchFamily="2" charset="0"/>
            </a:endParaRPr>
          </a:p>
        </p:txBody>
      </p:sp>
    </p:spTree>
    <p:extLst>
      <p:ext uri="{BB962C8B-B14F-4D97-AF65-F5344CB8AC3E}">
        <p14:creationId xmlns:p14="http://schemas.microsoft.com/office/powerpoint/2010/main" val="2633892120"/>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8297CC-FD67-F227-B4B9-AA9A32E57C2A}"/>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C4C0894A-AE60-2B1C-0768-41A1D6129E32}"/>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51" name="Oval 50">
            <a:extLst>
              <a:ext uri="{FF2B5EF4-FFF2-40B4-BE49-F238E27FC236}">
                <a16:creationId xmlns:a16="http://schemas.microsoft.com/office/drawing/2014/main" id="{1D3F07B9-FAB5-617A-C7C7-8B569C7F2BA0}"/>
              </a:ext>
            </a:extLst>
          </p:cNvPr>
          <p:cNvSpPr/>
          <p:nvPr/>
        </p:nvSpPr>
        <p:spPr>
          <a:xfrm>
            <a:off x="5842207" y="338873"/>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2" name="Graphic 51">
            <a:extLst>
              <a:ext uri="{FF2B5EF4-FFF2-40B4-BE49-F238E27FC236}">
                <a16:creationId xmlns:a16="http://schemas.microsoft.com/office/drawing/2014/main" id="{C4D879A8-BADD-6FD5-DF3F-9EDD681E05E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970000" y="466666"/>
            <a:ext cx="252000" cy="252000"/>
          </a:xfrm>
          <a:prstGeom prst="rect">
            <a:avLst/>
          </a:prstGeom>
        </p:spPr>
      </p:pic>
      <p:sp>
        <p:nvSpPr>
          <p:cNvPr id="192" name="TextBox 191">
            <a:extLst>
              <a:ext uri="{FF2B5EF4-FFF2-40B4-BE49-F238E27FC236}">
                <a16:creationId xmlns:a16="http://schemas.microsoft.com/office/drawing/2014/main" id="{0FEEFB87-C304-871D-DD37-E7ADBF5ED56B}"/>
              </a:ext>
            </a:extLst>
          </p:cNvPr>
          <p:cNvSpPr txBox="1"/>
          <p:nvPr/>
        </p:nvSpPr>
        <p:spPr>
          <a:xfrm>
            <a:off x="281745" y="969272"/>
            <a:ext cx="4046199" cy="938077"/>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800" dirty="0"/>
              <a:t>Hypothèses et prévisions</a:t>
            </a:r>
            <a:endParaRPr lang="en-GB" sz="4800" dirty="0"/>
          </a:p>
        </p:txBody>
      </p:sp>
      <p:sp>
        <p:nvSpPr>
          <p:cNvPr id="3" name="TextBox 1">
            <a:extLst>
              <a:ext uri="{FF2B5EF4-FFF2-40B4-BE49-F238E27FC236}">
                <a16:creationId xmlns:a16="http://schemas.microsoft.com/office/drawing/2014/main" id="{86B1112C-61B1-E23D-5222-9FE4FF1DAD7F}"/>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sp>
        <p:nvSpPr>
          <p:cNvPr id="4" name="TextBox 1">
            <a:extLst>
              <a:ext uri="{FF2B5EF4-FFF2-40B4-BE49-F238E27FC236}">
                <a16:creationId xmlns:a16="http://schemas.microsoft.com/office/drawing/2014/main" id="{AC5676D7-A661-7EC6-53A0-FA8D3A85A4B4}"/>
              </a:ext>
            </a:extLst>
          </p:cNvPr>
          <p:cNvSpPr txBox="1"/>
          <p:nvPr/>
        </p:nvSpPr>
        <p:spPr>
          <a:xfrm>
            <a:off x="908648" y="407551"/>
            <a:ext cx="945772"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technique</a:t>
            </a:r>
          </a:p>
        </p:txBody>
      </p:sp>
      <p:pic>
        <p:nvPicPr>
          <p:cNvPr id="7" name="Image 6">
            <a:extLst>
              <a:ext uri="{FF2B5EF4-FFF2-40B4-BE49-F238E27FC236}">
                <a16:creationId xmlns:a16="http://schemas.microsoft.com/office/drawing/2014/main" id="{9BADFD34-3ABA-A5E3-124B-89308558006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64058" y="1401903"/>
            <a:ext cx="4726220" cy="4877481"/>
          </a:xfrm>
          <a:prstGeom prst="rect">
            <a:avLst/>
          </a:prstGeom>
        </p:spPr>
      </p:pic>
      <p:sp>
        <p:nvSpPr>
          <p:cNvPr id="5" name="Rectangle 1">
            <a:extLst>
              <a:ext uri="{FF2B5EF4-FFF2-40B4-BE49-F238E27FC236}">
                <a16:creationId xmlns:a16="http://schemas.microsoft.com/office/drawing/2014/main" id="{69998BFB-7BD5-4547-9777-0BC18A696732}"/>
              </a:ext>
            </a:extLst>
          </p:cNvPr>
          <p:cNvSpPr>
            <a:spLocks noChangeArrowheads="1"/>
          </p:cNvSpPr>
          <p:nvPr/>
        </p:nvSpPr>
        <p:spPr bwMode="auto">
          <a:xfrm>
            <a:off x="281746" y="2274115"/>
            <a:ext cx="6386910" cy="3693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fr-TN" altLang="fr-TN" sz="1800" b="1" i="0" u="none" strike="noStrike" cap="none" normalizeH="0" baseline="0" dirty="0">
                <a:ln>
                  <a:noFill/>
                </a:ln>
                <a:solidFill>
                  <a:schemeClr val="bg1"/>
                </a:solidFill>
                <a:effectLst/>
                <a:latin typeface="Arial" panose="020B0604020202020204" pitchFamily="34" charset="0"/>
              </a:rPr>
              <a:t>Prestataires actifs au démarrage</a:t>
            </a:r>
            <a:r>
              <a:rPr kumimoji="0" lang="fr-TN" altLang="fr-TN" sz="1800" b="0" i="0" u="none" strike="noStrike" cap="none" normalizeH="0" baseline="0" dirty="0">
                <a:ln>
                  <a:noFill/>
                </a:ln>
                <a:solidFill>
                  <a:schemeClr val="bg1"/>
                </a:solidFill>
                <a:effectLst/>
                <a:latin typeface="Arial" panose="020B0604020202020204" pitchFamily="34" charset="0"/>
              </a:rPr>
              <a:t> : 15</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fr-TN" altLang="fr-TN" sz="1800" b="1" i="0" u="none" strike="noStrike" cap="none" normalizeH="0" baseline="0" dirty="0">
                <a:ln>
                  <a:noFill/>
                </a:ln>
                <a:solidFill>
                  <a:schemeClr val="bg1"/>
                </a:solidFill>
                <a:effectLst/>
                <a:latin typeface="Arial" panose="020B0604020202020204" pitchFamily="34" charset="0"/>
              </a:rPr>
              <a:t>Réservations moyennes / prestataire / jour</a:t>
            </a:r>
            <a:r>
              <a:rPr kumimoji="0" lang="fr-TN" altLang="fr-TN" sz="1800" b="0" i="0" u="none" strike="noStrike" cap="none" normalizeH="0" baseline="0" dirty="0">
                <a:ln>
                  <a:noFill/>
                </a:ln>
                <a:solidFill>
                  <a:schemeClr val="bg1"/>
                </a:solidFill>
                <a:effectLst/>
                <a:latin typeface="Arial" panose="020B0604020202020204" pitchFamily="34" charset="0"/>
              </a:rPr>
              <a:t> : 90</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fr-TN" altLang="fr-TN" sz="1800" b="1" i="0" u="none" strike="noStrike" cap="none" normalizeH="0" baseline="0" dirty="0">
                <a:ln>
                  <a:noFill/>
                </a:ln>
                <a:solidFill>
                  <a:schemeClr val="bg1"/>
                </a:solidFill>
                <a:effectLst/>
                <a:latin typeface="Arial" panose="020B0604020202020204" pitchFamily="34" charset="0"/>
              </a:rPr>
              <a:t>Part captée par </a:t>
            </a:r>
            <a:r>
              <a:rPr kumimoji="0" lang="fr-TN" altLang="fr-TN" sz="1800" b="1" i="0" u="none" strike="noStrike" cap="none" normalizeH="0" baseline="0" dirty="0" err="1">
                <a:ln>
                  <a:noFill/>
                </a:ln>
                <a:solidFill>
                  <a:schemeClr val="bg1"/>
                </a:solidFill>
                <a:effectLst/>
                <a:latin typeface="Arial" panose="020B0604020202020204" pitchFamily="34" charset="0"/>
              </a:rPr>
              <a:t>Cabinoo</a:t>
            </a:r>
            <a:r>
              <a:rPr kumimoji="0" lang="fr-TN" altLang="fr-TN" sz="1800" b="0" i="0" u="none" strike="noStrike" cap="none" normalizeH="0" baseline="0" dirty="0">
                <a:ln>
                  <a:noFill/>
                </a:ln>
                <a:solidFill>
                  <a:schemeClr val="bg1"/>
                </a:solidFill>
                <a:effectLst/>
                <a:latin typeface="Arial" panose="020B0604020202020204" pitchFamily="34" charset="0"/>
              </a:rPr>
              <a:t> : 23 % → 21 réservations / jour / prestatair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fr-TN" altLang="fr-TN" sz="1800" b="1" i="0" u="none" strike="noStrike" cap="none" normalizeH="0" baseline="0" dirty="0">
                <a:ln>
                  <a:noFill/>
                </a:ln>
                <a:solidFill>
                  <a:schemeClr val="bg1"/>
                </a:solidFill>
                <a:effectLst/>
                <a:latin typeface="Arial" panose="020B0604020202020204" pitchFamily="34" charset="0"/>
              </a:rPr>
              <a:t>Réservations avec activité nautique</a:t>
            </a:r>
            <a:r>
              <a:rPr kumimoji="0" lang="fr-TN" altLang="fr-TN" sz="1800" b="0" i="0" u="none" strike="noStrike" cap="none" normalizeH="0" baseline="0" dirty="0">
                <a:ln>
                  <a:noFill/>
                </a:ln>
                <a:solidFill>
                  <a:schemeClr val="bg1"/>
                </a:solidFill>
                <a:effectLst/>
                <a:latin typeface="Arial" panose="020B0604020202020204" pitchFamily="34" charset="0"/>
              </a:rPr>
              <a:t> : 7 / jour / prestatair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fr-TN" altLang="fr-TN" sz="1800" b="1" i="0" u="none" strike="noStrike" cap="none" normalizeH="0" baseline="0" dirty="0">
                <a:ln>
                  <a:noFill/>
                </a:ln>
                <a:solidFill>
                  <a:schemeClr val="bg1"/>
                </a:solidFill>
                <a:effectLst/>
                <a:latin typeface="Arial" panose="020B0604020202020204" pitchFamily="34" charset="0"/>
              </a:rPr>
              <a:t>Durée de la saison</a:t>
            </a:r>
            <a:r>
              <a:rPr kumimoji="0" lang="fr-TN" altLang="fr-TN" sz="1800" b="0" i="0" u="none" strike="noStrike" cap="none" normalizeH="0" baseline="0" dirty="0">
                <a:ln>
                  <a:noFill/>
                </a:ln>
                <a:solidFill>
                  <a:schemeClr val="bg1"/>
                </a:solidFill>
                <a:effectLst/>
                <a:latin typeface="Arial" panose="020B0604020202020204" pitchFamily="34" charset="0"/>
              </a:rPr>
              <a:t> : 4 mois (juin à septembre) = 122 jour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fr-TN" altLang="fr-TN" sz="1800" b="1" i="0" u="none" strike="noStrike" cap="none" normalizeH="0" baseline="0" dirty="0">
                <a:ln>
                  <a:noFill/>
                </a:ln>
                <a:solidFill>
                  <a:schemeClr val="bg1"/>
                </a:solidFill>
                <a:effectLst/>
                <a:latin typeface="Arial" panose="020B0604020202020204" pitchFamily="34" charset="0"/>
              </a:rPr>
              <a:t>Prix moyen cabane</a:t>
            </a:r>
            <a:r>
              <a:rPr kumimoji="0" lang="fr-TN" altLang="fr-TN" sz="1800" b="0" i="0" u="none" strike="noStrike" cap="none" normalizeH="0" baseline="0" dirty="0">
                <a:ln>
                  <a:noFill/>
                </a:ln>
                <a:solidFill>
                  <a:schemeClr val="bg1"/>
                </a:solidFill>
                <a:effectLst/>
                <a:latin typeface="Arial" panose="020B0604020202020204" pitchFamily="34" charset="0"/>
              </a:rPr>
              <a:t> : 82 D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fr-TN" altLang="fr-TN" sz="1800" b="1" i="0" u="none" strike="noStrike" cap="none" normalizeH="0" baseline="0" dirty="0">
                <a:ln>
                  <a:noFill/>
                </a:ln>
                <a:solidFill>
                  <a:schemeClr val="bg1"/>
                </a:solidFill>
                <a:effectLst/>
                <a:latin typeface="Arial" panose="020B0604020202020204" pitchFamily="34" charset="0"/>
              </a:rPr>
              <a:t>Prix moyen activité nautique</a:t>
            </a:r>
            <a:r>
              <a:rPr kumimoji="0" lang="fr-TN" altLang="fr-TN" sz="1800" b="0" i="0" u="none" strike="noStrike" cap="none" normalizeH="0" baseline="0" dirty="0">
                <a:ln>
                  <a:noFill/>
                </a:ln>
                <a:solidFill>
                  <a:schemeClr val="bg1"/>
                </a:solidFill>
                <a:effectLst/>
                <a:latin typeface="Arial" panose="020B0604020202020204" pitchFamily="34" charset="0"/>
              </a:rPr>
              <a:t> : 32 D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fr-TN" altLang="fr-TN" sz="1800" b="1" i="0" u="none" strike="noStrike" cap="none" normalizeH="0" baseline="0" dirty="0">
                <a:ln>
                  <a:noFill/>
                </a:ln>
                <a:solidFill>
                  <a:schemeClr val="bg1"/>
                </a:solidFill>
                <a:effectLst/>
                <a:latin typeface="Arial" panose="020B0604020202020204" pitchFamily="34" charset="0"/>
              </a:rPr>
              <a:t>Commission </a:t>
            </a:r>
            <a:r>
              <a:rPr kumimoji="0" lang="fr-TN" altLang="fr-TN" sz="1800" b="1" i="0" u="none" strike="noStrike" cap="none" normalizeH="0" baseline="0" dirty="0" err="1">
                <a:ln>
                  <a:noFill/>
                </a:ln>
                <a:solidFill>
                  <a:schemeClr val="bg1"/>
                </a:solidFill>
                <a:effectLst/>
                <a:latin typeface="Arial" panose="020B0604020202020204" pitchFamily="34" charset="0"/>
              </a:rPr>
              <a:t>Cabinoo</a:t>
            </a:r>
            <a:r>
              <a:rPr kumimoji="0" lang="fr-TN" altLang="fr-TN" sz="1800" b="0" i="0" u="none" strike="noStrike" cap="none" normalizeH="0" baseline="0" dirty="0">
                <a:ln>
                  <a:noFill/>
                </a:ln>
                <a:solidFill>
                  <a:schemeClr val="bg1"/>
                </a:solidFill>
                <a:effectLst/>
                <a:latin typeface="Arial" panose="020B0604020202020204" pitchFamily="34" charset="0"/>
              </a:rPr>
              <a:t> :</a:t>
            </a:r>
          </a:p>
          <a:p>
            <a:pPr eaLnBrk="0" fontAlgn="base" hangingPunct="0">
              <a:spcBef>
                <a:spcPct val="0"/>
              </a:spcBef>
              <a:spcAft>
                <a:spcPct val="0"/>
              </a:spcAft>
              <a:buFontTx/>
              <a:buChar char="•"/>
            </a:pPr>
            <a:r>
              <a:rPr kumimoji="0" lang="fr-TN" altLang="fr-TN" sz="1800" b="0" i="0" u="none" strike="noStrike" cap="none" normalizeH="0" baseline="0" dirty="0">
                <a:ln>
                  <a:noFill/>
                </a:ln>
                <a:solidFill>
                  <a:schemeClr val="bg1"/>
                </a:solidFill>
                <a:effectLst/>
                <a:latin typeface="Arial" panose="020B0604020202020204" pitchFamily="34" charset="0"/>
              </a:rPr>
              <a:t>Totale : 5 % / réservation</a:t>
            </a:r>
            <a:r>
              <a:rPr kumimoji="0" lang="fr-FR" altLang="fr-TN" sz="1800" b="0" i="0" u="none" strike="noStrike" cap="none" normalizeH="0" baseline="0" dirty="0">
                <a:ln>
                  <a:noFill/>
                </a:ln>
                <a:solidFill>
                  <a:schemeClr val="bg1"/>
                </a:solidFill>
                <a:effectLst/>
                <a:latin typeface="Arial" panose="020B0604020202020204" pitchFamily="34" charset="0"/>
              </a:rPr>
              <a:t>  </a:t>
            </a:r>
          </a:p>
          <a:p>
            <a:pPr eaLnBrk="0" fontAlgn="base" hangingPunct="0">
              <a:spcBef>
                <a:spcPct val="0"/>
              </a:spcBef>
              <a:spcAft>
                <a:spcPct val="0"/>
              </a:spcAft>
              <a:buFontTx/>
              <a:buChar char="•"/>
            </a:pPr>
            <a:r>
              <a:rPr kumimoji="0" lang="fr-FR" altLang="fr-TN" sz="1800" b="0" i="0" u="none" strike="noStrike" cap="none" normalizeH="0" baseline="0" dirty="0">
                <a:ln>
                  <a:noFill/>
                </a:ln>
                <a:solidFill>
                  <a:schemeClr val="bg1"/>
                </a:solidFill>
                <a:effectLst/>
                <a:latin typeface="Arial" panose="020B0604020202020204" pitchFamily="34" charset="0"/>
              </a:rPr>
              <a:t>1% </a:t>
            </a:r>
            <a:r>
              <a:rPr lang="fr-FR" dirty="0">
                <a:solidFill>
                  <a:schemeClr val="bg1"/>
                </a:solidFill>
              </a:rPr>
              <a:t>reversée au partenaire de paiement</a:t>
            </a:r>
            <a:endParaRPr kumimoji="0" lang="fr-TN" altLang="fr-TN" sz="1800" b="0" i="0" u="none" strike="noStrike" cap="none" normalizeH="0" baseline="0" dirty="0">
              <a:ln>
                <a:noFill/>
              </a:ln>
              <a:solidFill>
                <a:schemeClr val="bg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fr-TN" altLang="fr-TN" sz="1800" b="0" i="0" u="none" strike="noStrike" cap="none" normalizeH="0" baseline="0" dirty="0">
                <a:ln>
                  <a:noFill/>
                </a:ln>
                <a:solidFill>
                  <a:schemeClr val="bg1"/>
                </a:solidFill>
                <a:effectLst/>
                <a:latin typeface="Arial" panose="020B0604020202020204" pitchFamily="34" charset="0"/>
              </a:rPr>
              <a:t>Nette (après prestataire de paiement) : 4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fr-TN" altLang="fr-TN" sz="1800" b="1" i="0" u="none" strike="noStrike" cap="none" normalizeH="0" baseline="0" dirty="0">
                <a:ln>
                  <a:noFill/>
                </a:ln>
                <a:solidFill>
                  <a:schemeClr val="bg1"/>
                </a:solidFill>
                <a:effectLst/>
                <a:latin typeface="Arial" panose="020B0604020202020204" pitchFamily="34" charset="0"/>
              </a:rPr>
              <a:t>Abonnement mensuel prestataire</a:t>
            </a:r>
            <a:r>
              <a:rPr kumimoji="0" lang="fr-TN" altLang="fr-TN" sz="1800" b="0" i="0" u="none" strike="noStrike" cap="none" normalizeH="0" baseline="0" dirty="0">
                <a:ln>
                  <a:noFill/>
                </a:ln>
                <a:solidFill>
                  <a:schemeClr val="bg1"/>
                </a:solidFill>
                <a:effectLst/>
                <a:latin typeface="Arial" panose="020B0604020202020204" pitchFamily="34" charset="0"/>
              </a:rPr>
              <a:t> : 100 DT</a:t>
            </a:r>
          </a:p>
        </p:txBody>
      </p:sp>
      <p:pic>
        <p:nvPicPr>
          <p:cNvPr id="8" name="Picture 7">
            <a:extLst>
              <a:ext uri="{FF2B5EF4-FFF2-40B4-BE49-F238E27FC236}">
                <a16:creationId xmlns:a16="http://schemas.microsoft.com/office/drawing/2014/main" id="{B4F26FBE-BB65-4311-BD97-D8F8981CE6D5}"/>
              </a:ext>
            </a:extLst>
          </p:cNvPr>
          <p:cNvPicPr>
            <a:picLocks noChangeAspect="1"/>
          </p:cNvPicPr>
          <p:nvPr/>
        </p:nvPicPr>
        <p:blipFill>
          <a:blip r:embed="rId6"/>
          <a:stretch>
            <a:fillRect/>
          </a:stretch>
        </p:blipFill>
        <p:spPr>
          <a:xfrm>
            <a:off x="6668656" y="3696762"/>
            <a:ext cx="2949388" cy="2949388"/>
          </a:xfrm>
          <a:prstGeom prst="rect">
            <a:avLst/>
          </a:prstGeom>
        </p:spPr>
      </p:pic>
      <p:sp>
        <p:nvSpPr>
          <p:cNvPr id="9" name="Rectangle 8">
            <a:extLst>
              <a:ext uri="{FF2B5EF4-FFF2-40B4-BE49-F238E27FC236}">
                <a16:creationId xmlns:a16="http://schemas.microsoft.com/office/drawing/2014/main" id="{9D305679-FAA5-4C34-9758-0C00562D6944}"/>
              </a:ext>
            </a:extLst>
          </p:cNvPr>
          <p:cNvSpPr/>
          <p:nvPr/>
        </p:nvSpPr>
        <p:spPr>
          <a:xfrm>
            <a:off x="11494968" y="6279384"/>
            <a:ext cx="601447" cy="584775"/>
          </a:xfrm>
          <a:prstGeom prst="rect">
            <a:avLst/>
          </a:prstGeom>
        </p:spPr>
        <p:txBody>
          <a:bodyPr wrap="none">
            <a:spAutoFit/>
          </a:bodyPr>
          <a:lstStyle/>
          <a:p>
            <a:r>
              <a:rPr lang="en-US"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24</a:t>
            </a:r>
            <a:endParaRPr lang="fr-TN" sz="3200" dirty="0"/>
          </a:p>
        </p:txBody>
      </p:sp>
    </p:spTree>
    <p:extLst>
      <p:ext uri="{BB962C8B-B14F-4D97-AF65-F5344CB8AC3E}">
        <p14:creationId xmlns:p14="http://schemas.microsoft.com/office/powerpoint/2010/main" val="167680731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167E99-AB2F-6695-44B6-9A17FC72EECA}"/>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70AEF62C-4962-7389-FD34-FCD970215958}"/>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51" name="Oval 50">
            <a:extLst>
              <a:ext uri="{FF2B5EF4-FFF2-40B4-BE49-F238E27FC236}">
                <a16:creationId xmlns:a16="http://schemas.microsoft.com/office/drawing/2014/main" id="{7962C0C4-B09F-FC6B-61BE-1BE2AB3F3916}"/>
              </a:ext>
            </a:extLst>
          </p:cNvPr>
          <p:cNvSpPr/>
          <p:nvPr/>
        </p:nvSpPr>
        <p:spPr>
          <a:xfrm>
            <a:off x="5842207" y="338873"/>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2" name="Graphic 51">
            <a:extLst>
              <a:ext uri="{FF2B5EF4-FFF2-40B4-BE49-F238E27FC236}">
                <a16:creationId xmlns:a16="http://schemas.microsoft.com/office/drawing/2014/main" id="{6D1EFE3E-0F54-BB48-0B0B-8DBBFA9C4B41}"/>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970000" y="466666"/>
            <a:ext cx="252000" cy="252000"/>
          </a:xfrm>
          <a:prstGeom prst="rect">
            <a:avLst/>
          </a:prstGeom>
        </p:spPr>
      </p:pic>
      <p:sp>
        <p:nvSpPr>
          <p:cNvPr id="192" name="TextBox 191">
            <a:extLst>
              <a:ext uri="{FF2B5EF4-FFF2-40B4-BE49-F238E27FC236}">
                <a16:creationId xmlns:a16="http://schemas.microsoft.com/office/drawing/2014/main" id="{7773BBD9-3561-25BB-33E5-9E7776D13EC3}"/>
              </a:ext>
            </a:extLst>
          </p:cNvPr>
          <p:cNvSpPr txBox="1"/>
          <p:nvPr/>
        </p:nvSpPr>
        <p:spPr>
          <a:xfrm>
            <a:off x="281745" y="990292"/>
            <a:ext cx="8652048" cy="494879"/>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800" dirty="0"/>
              <a:t>Chiffres d’affaires prévisionnels</a:t>
            </a:r>
            <a:endParaRPr lang="en-GB" sz="4800" dirty="0"/>
          </a:p>
        </p:txBody>
      </p:sp>
      <p:sp>
        <p:nvSpPr>
          <p:cNvPr id="3" name="TextBox 1">
            <a:extLst>
              <a:ext uri="{FF2B5EF4-FFF2-40B4-BE49-F238E27FC236}">
                <a16:creationId xmlns:a16="http://schemas.microsoft.com/office/drawing/2014/main" id="{163BA5F5-AC8A-194E-455F-3AF386C5C906}"/>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sp>
        <p:nvSpPr>
          <p:cNvPr id="4" name="TextBox 1">
            <a:extLst>
              <a:ext uri="{FF2B5EF4-FFF2-40B4-BE49-F238E27FC236}">
                <a16:creationId xmlns:a16="http://schemas.microsoft.com/office/drawing/2014/main" id="{F8585B2E-592E-36B5-3674-81EBAC03290F}"/>
              </a:ext>
            </a:extLst>
          </p:cNvPr>
          <p:cNvSpPr txBox="1"/>
          <p:nvPr/>
        </p:nvSpPr>
        <p:spPr>
          <a:xfrm>
            <a:off x="908648" y="407551"/>
            <a:ext cx="945772"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technique</a:t>
            </a:r>
          </a:p>
        </p:txBody>
      </p:sp>
      <p:graphicFrame>
        <p:nvGraphicFramePr>
          <p:cNvPr id="2" name="Table 2">
            <a:extLst>
              <a:ext uri="{FF2B5EF4-FFF2-40B4-BE49-F238E27FC236}">
                <a16:creationId xmlns:a16="http://schemas.microsoft.com/office/drawing/2014/main" id="{D556E3B3-FD93-0C35-1802-CADB1C0C8FF0}"/>
              </a:ext>
            </a:extLst>
          </p:cNvPr>
          <p:cNvGraphicFramePr>
            <a:graphicFrameLocks noGrp="1"/>
          </p:cNvGraphicFramePr>
          <p:nvPr/>
        </p:nvGraphicFramePr>
        <p:xfrm>
          <a:off x="1225485" y="1623557"/>
          <a:ext cx="10096105" cy="5172086"/>
        </p:xfrm>
        <a:graphic>
          <a:graphicData uri="http://schemas.openxmlformats.org/drawingml/2006/table">
            <a:tbl>
              <a:tblPr firstRow="1" bandRow="1">
                <a:tableStyleId>{5C22544A-7EE6-4342-B048-85BDC9FD1C3A}</a:tableStyleId>
              </a:tblPr>
              <a:tblGrid>
                <a:gridCol w="2019221">
                  <a:extLst>
                    <a:ext uri="{9D8B030D-6E8A-4147-A177-3AD203B41FA5}">
                      <a16:colId xmlns:a16="http://schemas.microsoft.com/office/drawing/2014/main" val="2537752930"/>
                    </a:ext>
                  </a:extLst>
                </a:gridCol>
                <a:gridCol w="2019221">
                  <a:extLst>
                    <a:ext uri="{9D8B030D-6E8A-4147-A177-3AD203B41FA5}">
                      <a16:colId xmlns:a16="http://schemas.microsoft.com/office/drawing/2014/main" val="4212042255"/>
                    </a:ext>
                  </a:extLst>
                </a:gridCol>
                <a:gridCol w="2019221">
                  <a:extLst>
                    <a:ext uri="{9D8B030D-6E8A-4147-A177-3AD203B41FA5}">
                      <a16:colId xmlns:a16="http://schemas.microsoft.com/office/drawing/2014/main" val="2674113085"/>
                    </a:ext>
                  </a:extLst>
                </a:gridCol>
                <a:gridCol w="2019221">
                  <a:extLst>
                    <a:ext uri="{9D8B030D-6E8A-4147-A177-3AD203B41FA5}">
                      <a16:colId xmlns:a16="http://schemas.microsoft.com/office/drawing/2014/main" val="501114445"/>
                    </a:ext>
                  </a:extLst>
                </a:gridCol>
                <a:gridCol w="2019221">
                  <a:extLst>
                    <a:ext uri="{9D8B030D-6E8A-4147-A177-3AD203B41FA5}">
                      <a16:colId xmlns:a16="http://schemas.microsoft.com/office/drawing/2014/main" val="433911522"/>
                    </a:ext>
                  </a:extLst>
                </a:gridCol>
              </a:tblGrid>
              <a:tr h="863987">
                <a:tc>
                  <a:txBody>
                    <a:bodyPr/>
                    <a:lstStyle/>
                    <a:p>
                      <a:r>
                        <a:rPr lang="en-US" dirty="0" err="1"/>
                        <a:t>Année</a:t>
                      </a:r>
                      <a:endParaRPr lang="en-US" dirty="0"/>
                    </a:p>
                  </a:txBody>
                  <a:tcPr/>
                </a:tc>
                <a:tc>
                  <a:txBody>
                    <a:bodyPr/>
                    <a:lstStyle/>
                    <a:p>
                      <a:r>
                        <a:rPr lang="en-US" dirty="0" err="1"/>
                        <a:t>Cabanes</a:t>
                      </a:r>
                      <a:r>
                        <a:rPr lang="en-US" dirty="0"/>
                        <a:t> (DT)</a:t>
                      </a:r>
                    </a:p>
                  </a:txBody>
                  <a:tcPr/>
                </a:tc>
                <a:tc>
                  <a:txBody>
                    <a:bodyPr/>
                    <a:lstStyle/>
                    <a:p>
                      <a:r>
                        <a:rPr lang="en-US" dirty="0"/>
                        <a:t>Activités (DT)</a:t>
                      </a:r>
                    </a:p>
                  </a:txBody>
                  <a:tcPr/>
                </a:tc>
                <a:tc>
                  <a:txBody>
                    <a:bodyPr/>
                    <a:lstStyle/>
                    <a:p>
                      <a:r>
                        <a:rPr lang="en-US" dirty="0" err="1"/>
                        <a:t>Licences</a:t>
                      </a:r>
                      <a:r>
                        <a:rPr lang="en-US" dirty="0"/>
                        <a:t> (DT)</a:t>
                      </a:r>
                    </a:p>
                  </a:txBody>
                  <a:tcPr/>
                </a:tc>
                <a:tc>
                  <a:txBody>
                    <a:bodyPr/>
                    <a:lstStyle/>
                    <a:p>
                      <a:r>
                        <a:rPr lang="en-US" dirty="0"/>
                        <a:t>Total net (DT)</a:t>
                      </a:r>
                    </a:p>
                  </a:txBody>
                  <a:tcPr/>
                </a:tc>
                <a:extLst>
                  <a:ext uri="{0D108BD9-81ED-4DB2-BD59-A6C34878D82A}">
                    <a16:rowId xmlns:a16="http://schemas.microsoft.com/office/drawing/2014/main" val="1496915915"/>
                  </a:ext>
                </a:extLst>
              </a:tr>
              <a:tr h="852151">
                <a:tc>
                  <a:txBody>
                    <a:bodyPr/>
                    <a:lstStyle/>
                    <a:p>
                      <a:r>
                        <a:rPr lang="fr-FR" dirty="0"/>
                        <a:t>2026</a:t>
                      </a:r>
                      <a:endParaRPr lang="en-US" dirty="0"/>
                    </a:p>
                  </a:txBody>
                  <a:tcPr/>
                </a:tc>
                <a:tc>
                  <a:txBody>
                    <a:bodyPr/>
                    <a:lstStyle/>
                    <a:p>
                      <a:r>
                        <a:rPr lang="fr-FR" dirty="0"/>
                        <a:t>126 050</a:t>
                      </a:r>
                      <a:endParaRPr lang="en-US" dirty="0"/>
                    </a:p>
                  </a:txBody>
                  <a:tcPr/>
                </a:tc>
                <a:tc>
                  <a:txBody>
                    <a:bodyPr/>
                    <a:lstStyle/>
                    <a:p>
                      <a:r>
                        <a:rPr lang="en-US" dirty="0"/>
                        <a:t>16 396</a:t>
                      </a:r>
                    </a:p>
                  </a:txBody>
                  <a:tcPr/>
                </a:tc>
                <a:tc>
                  <a:txBody>
                    <a:bodyPr/>
                    <a:lstStyle/>
                    <a:p>
                      <a:r>
                        <a:rPr lang="en-US" dirty="0"/>
                        <a:t>6 000 </a:t>
                      </a:r>
                    </a:p>
                  </a:txBody>
                  <a:tcPr/>
                </a:tc>
                <a:tc>
                  <a:txBody>
                    <a:bodyPr/>
                    <a:lstStyle/>
                    <a:p>
                      <a:r>
                        <a:rPr lang="en-US" dirty="0"/>
                        <a:t>148 447</a:t>
                      </a:r>
                    </a:p>
                  </a:txBody>
                  <a:tcPr/>
                </a:tc>
                <a:extLst>
                  <a:ext uri="{0D108BD9-81ED-4DB2-BD59-A6C34878D82A}">
                    <a16:rowId xmlns:a16="http://schemas.microsoft.com/office/drawing/2014/main" val="801423013"/>
                  </a:ext>
                </a:extLst>
              </a:tr>
              <a:tr h="863987">
                <a:tc>
                  <a:txBody>
                    <a:bodyPr/>
                    <a:lstStyle/>
                    <a:p>
                      <a:r>
                        <a:rPr lang="fr-FR" dirty="0"/>
                        <a:t>2027</a:t>
                      </a:r>
                      <a:endParaRPr lang="en-US" dirty="0"/>
                    </a:p>
                  </a:txBody>
                  <a:tcPr/>
                </a:tc>
                <a:tc>
                  <a:txBody>
                    <a:bodyPr/>
                    <a:lstStyle/>
                    <a:p>
                      <a:r>
                        <a:rPr lang="en-US" dirty="0"/>
                        <a:t>147 899</a:t>
                      </a:r>
                    </a:p>
                  </a:txBody>
                  <a:tcPr/>
                </a:tc>
                <a:tc>
                  <a:txBody>
                    <a:bodyPr/>
                    <a:lstStyle/>
                    <a:p>
                      <a:r>
                        <a:rPr lang="en-US" dirty="0"/>
                        <a:t>19 238</a:t>
                      </a:r>
                    </a:p>
                  </a:txBody>
                  <a:tcPr/>
                </a:tc>
                <a:tc>
                  <a:txBody>
                    <a:bodyPr/>
                    <a:lstStyle/>
                    <a:p>
                      <a:r>
                        <a:rPr lang="en-US" dirty="0"/>
                        <a:t>6 400</a:t>
                      </a:r>
                    </a:p>
                  </a:txBody>
                  <a:tcPr/>
                </a:tc>
                <a:tc>
                  <a:txBody>
                    <a:bodyPr/>
                    <a:lstStyle/>
                    <a:p>
                      <a:r>
                        <a:rPr lang="en-US" dirty="0"/>
                        <a:t>173 538</a:t>
                      </a:r>
                    </a:p>
                  </a:txBody>
                  <a:tcPr/>
                </a:tc>
                <a:extLst>
                  <a:ext uri="{0D108BD9-81ED-4DB2-BD59-A6C34878D82A}">
                    <a16:rowId xmlns:a16="http://schemas.microsoft.com/office/drawing/2014/main" val="4058842243"/>
                  </a:ext>
                </a:extLst>
              </a:tr>
              <a:tr h="863987">
                <a:tc>
                  <a:txBody>
                    <a:bodyPr/>
                    <a:lstStyle/>
                    <a:p>
                      <a:r>
                        <a:rPr lang="fr-FR" dirty="0"/>
                        <a:t>2028</a:t>
                      </a:r>
                      <a:endParaRPr lang="en-US" dirty="0"/>
                    </a:p>
                  </a:txBody>
                  <a:tcPr/>
                </a:tc>
                <a:tc>
                  <a:txBody>
                    <a:bodyPr/>
                    <a:lstStyle/>
                    <a:p>
                      <a:r>
                        <a:rPr lang="en-US" dirty="0"/>
                        <a:t>172 857</a:t>
                      </a:r>
                    </a:p>
                  </a:txBody>
                  <a:tcPr/>
                </a:tc>
                <a:tc>
                  <a:txBody>
                    <a:bodyPr/>
                    <a:lstStyle/>
                    <a:p>
                      <a:r>
                        <a:rPr lang="en-US" dirty="0"/>
                        <a:t>22 485</a:t>
                      </a:r>
                    </a:p>
                  </a:txBody>
                  <a:tcPr/>
                </a:tc>
                <a:tc>
                  <a:txBody>
                    <a:bodyPr/>
                    <a:lstStyle/>
                    <a:p>
                      <a:r>
                        <a:rPr lang="en-US" dirty="0"/>
                        <a:t>6 800</a:t>
                      </a:r>
                    </a:p>
                  </a:txBody>
                  <a:tcPr/>
                </a:tc>
                <a:tc>
                  <a:txBody>
                    <a:bodyPr/>
                    <a:lstStyle/>
                    <a:p>
                      <a:r>
                        <a:rPr lang="en-US" dirty="0"/>
                        <a:t>202 142</a:t>
                      </a:r>
                    </a:p>
                  </a:txBody>
                  <a:tcPr/>
                </a:tc>
                <a:extLst>
                  <a:ext uri="{0D108BD9-81ED-4DB2-BD59-A6C34878D82A}">
                    <a16:rowId xmlns:a16="http://schemas.microsoft.com/office/drawing/2014/main" val="4162486153"/>
                  </a:ext>
                </a:extLst>
              </a:tr>
              <a:tr h="863987">
                <a:tc>
                  <a:txBody>
                    <a:bodyPr/>
                    <a:lstStyle/>
                    <a:p>
                      <a:r>
                        <a:rPr lang="fr-FR" dirty="0"/>
                        <a:t>2029</a:t>
                      </a:r>
                      <a:endParaRPr lang="en-US" dirty="0"/>
                    </a:p>
                  </a:txBody>
                  <a:tcPr/>
                </a:tc>
                <a:tc>
                  <a:txBody>
                    <a:bodyPr/>
                    <a:lstStyle/>
                    <a:p>
                      <a:r>
                        <a:rPr lang="en-US" dirty="0"/>
                        <a:t>201 327</a:t>
                      </a:r>
                    </a:p>
                  </a:txBody>
                  <a:tcPr/>
                </a:tc>
                <a:tc>
                  <a:txBody>
                    <a:bodyPr/>
                    <a:lstStyle/>
                    <a:p>
                      <a:r>
                        <a:rPr lang="en-US" dirty="0"/>
                        <a:t>26 188</a:t>
                      </a:r>
                    </a:p>
                  </a:txBody>
                  <a:tcPr/>
                </a:tc>
                <a:tc>
                  <a:txBody>
                    <a:bodyPr/>
                    <a:lstStyle/>
                    <a:p>
                      <a:r>
                        <a:rPr lang="en-US" dirty="0"/>
                        <a:t>7 200</a:t>
                      </a:r>
                    </a:p>
                  </a:txBody>
                  <a:tcPr/>
                </a:tc>
                <a:tc>
                  <a:txBody>
                    <a:bodyPr/>
                    <a:lstStyle/>
                    <a:p>
                      <a:r>
                        <a:rPr lang="en-US" dirty="0"/>
                        <a:t>234 716</a:t>
                      </a:r>
                    </a:p>
                  </a:txBody>
                  <a:tcPr/>
                </a:tc>
                <a:extLst>
                  <a:ext uri="{0D108BD9-81ED-4DB2-BD59-A6C34878D82A}">
                    <a16:rowId xmlns:a16="http://schemas.microsoft.com/office/drawing/2014/main" val="1209272645"/>
                  </a:ext>
                </a:extLst>
              </a:tr>
              <a:tr h="863987">
                <a:tc>
                  <a:txBody>
                    <a:bodyPr/>
                    <a:lstStyle/>
                    <a:p>
                      <a:r>
                        <a:rPr lang="fr-FR" dirty="0"/>
                        <a:t>2030</a:t>
                      </a:r>
                      <a:endParaRPr lang="en-US" dirty="0"/>
                    </a:p>
                  </a:txBody>
                  <a:tcPr/>
                </a:tc>
                <a:tc>
                  <a:txBody>
                    <a:bodyPr/>
                    <a:lstStyle/>
                    <a:p>
                      <a:r>
                        <a:rPr lang="en-US" dirty="0"/>
                        <a:t>233 763</a:t>
                      </a:r>
                    </a:p>
                  </a:txBody>
                  <a:tcPr/>
                </a:tc>
                <a:tc>
                  <a:txBody>
                    <a:bodyPr/>
                    <a:lstStyle/>
                    <a:p>
                      <a:r>
                        <a:rPr lang="en-US" dirty="0"/>
                        <a:t>30 408</a:t>
                      </a:r>
                    </a:p>
                  </a:txBody>
                  <a:tcPr/>
                </a:tc>
                <a:tc>
                  <a:txBody>
                    <a:bodyPr/>
                    <a:lstStyle/>
                    <a:p>
                      <a:r>
                        <a:rPr lang="en-US" dirty="0"/>
                        <a:t>7 600</a:t>
                      </a:r>
                    </a:p>
                  </a:txBody>
                  <a:tcPr/>
                </a:tc>
                <a:tc>
                  <a:txBody>
                    <a:bodyPr/>
                    <a:lstStyle/>
                    <a:p>
                      <a:r>
                        <a:rPr lang="en-US" dirty="0"/>
                        <a:t>271 772</a:t>
                      </a:r>
                    </a:p>
                  </a:txBody>
                  <a:tcPr/>
                </a:tc>
                <a:extLst>
                  <a:ext uri="{0D108BD9-81ED-4DB2-BD59-A6C34878D82A}">
                    <a16:rowId xmlns:a16="http://schemas.microsoft.com/office/drawing/2014/main" val="3468574977"/>
                  </a:ext>
                </a:extLst>
              </a:tr>
            </a:tbl>
          </a:graphicData>
        </a:graphic>
      </p:graphicFrame>
      <p:sp>
        <p:nvSpPr>
          <p:cNvPr id="5" name="Rectangle 4">
            <a:extLst>
              <a:ext uri="{FF2B5EF4-FFF2-40B4-BE49-F238E27FC236}">
                <a16:creationId xmlns:a16="http://schemas.microsoft.com/office/drawing/2014/main" id="{3D7B2973-0294-48B8-997D-F4E682C47138}"/>
              </a:ext>
            </a:extLst>
          </p:cNvPr>
          <p:cNvSpPr/>
          <p:nvPr/>
        </p:nvSpPr>
        <p:spPr>
          <a:xfrm>
            <a:off x="11590346" y="6273225"/>
            <a:ext cx="601447" cy="584775"/>
          </a:xfrm>
          <a:prstGeom prst="rect">
            <a:avLst/>
          </a:prstGeom>
        </p:spPr>
        <p:txBody>
          <a:bodyPr wrap="none">
            <a:spAutoFit/>
          </a:bodyPr>
          <a:lstStyle/>
          <a:p>
            <a:r>
              <a:rPr lang="en-US"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25</a:t>
            </a:r>
            <a:endParaRPr lang="fr-TN" sz="3200" dirty="0"/>
          </a:p>
        </p:txBody>
      </p:sp>
    </p:spTree>
    <p:extLst>
      <p:ext uri="{BB962C8B-B14F-4D97-AF65-F5344CB8AC3E}">
        <p14:creationId xmlns:p14="http://schemas.microsoft.com/office/powerpoint/2010/main" val="2711321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A964C9-2CB3-6A97-57E3-58D0B88FCECB}"/>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EED3C018-A414-DFA2-862D-BC42D27652FB}"/>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51" name="Oval 50">
            <a:extLst>
              <a:ext uri="{FF2B5EF4-FFF2-40B4-BE49-F238E27FC236}">
                <a16:creationId xmlns:a16="http://schemas.microsoft.com/office/drawing/2014/main" id="{C0DFE0D6-61C5-0892-240B-B521AF257384}"/>
              </a:ext>
            </a:extLst>
          </p:cNvPr>
          <p:cNvSpPr/>
          <p:nvPr/>
        </p:nvSpPr>
        <p:spPr>
          <a:xfrm>
            <a:off x="5842207" y="338873"/>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2" name="Graphic 51">
            <a:extLst>
              <a:ext uri="{FF2B5EF4-FFF2-40B4-BE49-F238E27FC236}">
                <a16:creationId xmlns:a16="http://schemas.microsoft.com/office/drawing/2014/main" id="{1E3FD298-68A7-7BD8-53B1-D01306778B6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970000" y="466666"/>
            <a:ext cx="252000" cy="252000"/>
          </a:xfrm>
          <a:prstGeom prst="rect">
            <a:avLst/>
          </a:prstGeom>
        </p:spPr>
      </p:pic>
      <p:sp>
        <p:nvSpPr>
          <p:cNvPr id="192" name="TextBox 191">
            <a:extLst>
              <a:ext uri="{FF2B5EF4-FFF2-40B4-BE49-F238E27FC236}">
                <a16:creationId xmlns:a16="http://schemas.microsoft.com/office/drawing/2014/main" id="{63E58850-E097-506E-F065-D50F72187650}"/>
              </a:ext>
            </a:extLst>
          </p:cNvPr>
          <p:cNvSpPr txBox="1"/>
          <p:nvPr/>
        </p:nvSpPr>
        <p:spPr>
          <a:xfrm>
            <a:off x="281745" y="969272"/>
            <a:ext cx="4046199" cy="494879"/>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800" dirty="0"/>
              <a:t>Coûts du projet</a:t>
            </a:r>
            <a:endParaRPr lang="en-GB" sz="4800" dirty="0"/>
          </a:p>
        </p:txBody>
      </p:sp>
      <p:sp>
        <p:nvSpPr>
          <p:cNvPr id="3" name="TextBox 1">
            <a:extLst>
              <a:ext uri="{FF2B5EF4-FFF2-40B4-BE49-F238E27FC236}">
                <a16:creationId xmlns:a16="http://schemas.microsoft.com/office/drawing/2014/main" id="{8F53741D-EC49-9EA7-994A-333E07F217C2}"/>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sp>
        <p:nvSpPr>
          <p:cNvPr id="4" name="TextBox 1">
            <a:extLst>
              <a:ext uri="{FF2B5EF4-FFF2-40B4-BE49-F238E27FC236}">
                <a16:creationId xmlns:a16="http://schemas.microsoft.com/office/drawing/2014/main" id="{B3DE2D78-8737-52EE-23D9-BC2A98586083}"/>
              </a:ext>
            </a:extLst>
          </p:cNvPr>
          <p:cNvSpPr txBox="1"/>
          <p:nvPr/>
        </p:nvSpPr>
        <p:spPr>
          <a:xfrm>
            <a:off x="908648" y="407551"/>
            <a:ext cx="945772"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technique</a:t>
            </a:r>
          </a:p>
        </p:txBody>
      </p:sp>
      <p:sp>
        <p:nvSpPr>
          <p:cNvPr id="2" name="Rectangle 1">
            <a:extLst>
              <a:ext uri="{FF2B5EF4-FFF2-40B4-BE49-F238E27FC236}">
                <a16:creationId xmlns:a16="http://schemas.microsoft.com/office/drawing/2014/main" id="{946DD755-F074-4700-9DF3-82AE9884A5E5}"/>
              </a:ext>
            </a:extLst>
          </p:cNvPr>
          <p:cNvSpPr/>
          <p:nvPr/>
        </p:nvSpPr>
        <p:spPr>
          <a:xfrm>
            <a:off x="11590553" y="6273225"/>
            <a:ext cx="601447" cy="584775"/>
          </a:xfrm>
          <a:prstGeom prst="rect">
            <a:avLst/>
          </a:prstGeom>
        </p:spPr>
        <p:txBody>
          <a:bodyPr wrap="none">
            <a:spAutoFit/>
          </a:bodyPr>
          <a:lstStyle/>
          <a:p>
            <a:r>
              <a:rPr lang="en-US"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26</a:t>
            </a:r>
            <a:endParaRPr lang="fr-TN" sz="3200" dirty="0"/>
          </a:p>
        </p:txBody>
      </p:sp>
      <p:pic>
        <p:nvPicPr>
          <p:cNvPr id="8" name="Picture 7">
            <a:extLst>
              <a:ext uri="{FF2B5EF4-FFF2-40B4-BE49-F238E27FC236}">
                <a16:creationId xmlns:a16="http://schemas.microsoft.com/office/drawing/2014/main" id="{53C92AAE-3C09-4C8B-9DD2-5A7F9E57CBE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33650" y="1464151"/>
            <a:ext cx="8376700" cy="5324928"/>
          </a:xfrm>
          <a:prstGeom prst="rect">
            <a:avLst/>
          </a:prstGeom>
        </p:spPr>
      </p:pic>
    </p:spTree>
    <p:extLst>
      <p:ext uri="{BB962C8B-B14F-4D97-AF65-F5344CB8AC3E}">
        <p14:creationId xmlns:p14="http://schemas.microsoft.com/office/powerpoint/2010/main" val="100832264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84C9C0-0E15-8407-9A6F-3EC2D92E08B8}"/>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EB466B2E-E61D-EDAE-C65E-F6342BF63807}"/>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51" name="Oval 50">
            <a:extLst>
              <a:ext uri="{FF2B5EF4-FFF2-40B4-BE49-F238E27FC236}">
                <a16:creationId xmlns:a16="http://schemas.microsoft.com/office/drawing/2014/main" id="{6E30F32E-4C18-0724-A39C-1E080EEF9F97}"/>
              </a:ext>
            </a:extLst>
          </p:cNvPr>
          <p:cNvSpPr/>
          <p:nvPr/>
        </p:nvSpPr>
        <p:spPr>
          <a:xfrm>
            <a:off x="5842207" y="338873"/>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2" name="Graphic 51">
            <a:extLst>
              <a:ext uri="{FF2B5EF4-FFF2-40B4-BE49-F238E27FC236}">
                <a16:creationId xmlns:a16="http://schemas.microsoft.com/office/drawing/2014/main" id="{3358D41C-3662-ABB9-E0FE-930A27B79B8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970000" y="466666"/>
            <a:ext cx="252000" cy="252000"/>
          </a:xfrm>
          <a:prstGeom prst="rect">
            <a:avLst/>
          </a:prstGeom>
        </p:spPr>
      </p:pic>
      <p:sp>
        <p:nvSpPr>
          <p:cNvPr id="192" name="TextBox 191">
            <a:extLst>
              <a:ext uri="{FF2B5EF4-FFF2-40B4-BE49-F238E27FC236}">
                <a16:creationId xmlns:a16="http://schemas.microsoft.com/office/drawing/2014/main" id="{01D2E32C-A55B-98C0-36CB-61ACE2A8E5CF}"/>
              </a:ext>
            </a:extLst>
          </p:cNvPr>
          <p:cNvSpPr txBox="1"/>
          <p:nvPr/>
        </p:nvSpPr>
        <p:spPr>
          <a:xfrm>
            <a:off x="281745" y="969272"/>
            <a:ext cx="4046199" cy="938077"/>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800" dirty="0"/>
              <a:t>Plan de financement</a:t>
            </a:r>
            <a:endParaRPr lang="en-GB" sz="4800" dirty="0"/>
          </a:p>
        </p:txBody>
      </p:sp>
      <p:sp>
        <p:nvSpPr>
          <p:cNvPr id="3" name="TextBox 1">
            <a:extLst>
              <a:ext uri="{FF2B5EF4-FFF2-40B4-BE49-F238E27FC236}">
                <a16:creationId xmlns:a16="http://schemas.microsoft.com/office/drawing/2014/main" id="{7A90697E-AE4E-518A-5702-33BDF919DC27}"/>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sp>
        <p:nvSpPr>
          <p:cNvPr id="4" name="TextBox 1">
            <a:extLst>
              <a:ext uri="{FF2B5EF4-FFF2-40B4-BE49-F238E27FC236}">
                <a16:creationId xmlns:a16="http://schemas.microsoft.com/office/drawing/2014/main" id="{D8C2A945-BF7B-BBB6-1EDC-4DF3E09503A9}"/>
              </a:ext>
            </a:extLst>
          </p:cNvPr>
          <p:cNvSpPr txBox="1"/>
          <p:nvPr/>
        </p:nvSpPr>
        <p:spPr>
          <a:xfrm>
            <a:off x="908648" y="407551"/>
            <a:ext cx="945772"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technique</a:t>
            </a:r>
          </a:p>
        </p:txBody>
      </p:sp>
      <p:sp>
        <p:nvSpPr>
          <p:cNvPr id="21" name="Google Shape;1138;p36">
            <a:extLst>
              <a:ext uri="{FF2B5EF4-FFF2-40B4-BE49-F238E27FC236}">
                <a16:creationId xmlns:a16="http://schemas.microsoft.com/office/drawing/2014/main" id="{77FD21D7-70C1-6203-D6B7-66788CA80A69}"/>
              </a:ext>
            </a:extLst>
          </p:cNvPr>
          <p:cNvSpPr/>
          <p:nvPr/>
        </p:nvSpPr>
        <p:spPr>
          <a:xfrm flipH="1">
            <a:off x="6197115" y="4030000"/>
            <a:ext cx="1308925" cy="1309600"/>
          </a:xfrm>
          <a:custGeom>
            <a:avLst/>
            <a:gdLst/>
            <a:ahLst/>
            <a:cxnLst/>
            <a:rect l="l" t="t" r="r" b="b"/>
            <a:pathLst>
              <a:path w="52357" h="52384" extrusionOk="0">
                <a:moveTo>
                  <a:pt x="52357" y="52383"/>
                </a:moveTo>
                <a:lnTo>
                  <a:pt x="52357" y="72"/>
                </a:lnTo>
                <a:lnTo>
                  <a:pt x="0" y="0"/>
                </a:lnTo>
                <a:lnTo>
                  <a:pt x="9" y="1349"/>
                </a:lnTo>
                <a:lnTo>
                  <a:pt x="152" y="4028"/>
                </a:lnTo>
                <a:lnTo>
                  <a:pt x="420" y="6671"/>
                </a:lnTo>
                <a:lnTo>
                  <a:pt x="813" y="9270"/>
                </a:lnTo>
                <a:lnTo>
                  <a:pt x="1340" y="11832"/>
                </a:lnTo>
                <a:lnTo>
                  <a:pt x="1983" y="14342"/>
                </a:lnTo>
                <a:lnTo>
                  <a:pt x="2751" y="16798"/>
                </a:lnTo>
                <a:lnTo>
                  <a:pt x="3626" y="19209"/>
                </a:lnTo>
                <a:lnTo>
                  <a:pt x="4617" y="21557"/>
                </a:lnTo>
                <a:lnTo>
                  <a:pt x="5725" y="23852"/>
                </a:lnTo>
                <a:lnTo>
                  <a:pt x="6930" y="26076"/>
                </a:lnTo>
                <a:lnTo>
                  <a:pt x="8243" y="28237"/>
                </a:lnTo>
                <a:lnTo>
                  <a:pt x="9654" y="30326"/>
                </a:lnTo>
                <a:lnTo>
                  <a:pt x="11163" y="32345"/>
                </a:lnTo>
                <a:lnTo>
                  <a:pt x="12761" y="34282"/>
                </a:lnTo>
                <a:lnTo>
                  <a:pt x="14449" y="36140"/>
                </a:lnTo>
                <a:lnTo>
                  <a:pt x="16226" y="37917"/>
                </a:lnTo>
                <a:lnTo>
                  <a:pt x="18093" y="39614"/>
                </a:lnTo>
                <a:lnTo>
                  <a:pt x="20030" y="41212"/>
                </a:lnTo>
                <a:lnTo>
                  <a:pt x="22040" y="42721"/>
                </a:lnTo>
                <a:lnTo>
                  <a:pt x="24129" y="44132"/>
                </a:lnTo>
                <a:lnTo>
                  <a:pt x="26290" y="45445"/>
                </a:lnTo>
                <a:lnTo>
                  <a:pt x="28514" y="46659"/>
                </a:lnTo>
                <a:lnTo>
                  <a:pt x="30809" y="47758"/>
                </a:lnTo>
                <a:lnTo>
                  <a:pt x="33157" y="48749"/>
                </a:lnTo>
                <a:lnTo>
                  <a:pt x="35560" y="49633"/>
                </a:lnTo>
                <a:lnTo>
                  <a:pt x="38015" y="50401"/>
                </a:lnTo>
                <a:lnTo>
                  <a:pt x="40525" y="51044"/>
                </a:lnTo>
                <a:lnTo>
                  <a:pt x="43088" y="51571"/>
                </a:lnTo>
                <a:lnTo>
                  <a:pt x="45686" y="51964"/>
                </a:lnTo>
                <a:lnTo>
                  <a:pt x="48320" y="52232"/>
                </a:lnTo>
                <a:lnTo>
                  <a:pt x="50999" y="52365"/>
                </a:lnTo>
                <a:lnTo>
                  <a:pt x="52357" y="52383"/>
                </a:lnTo>
                <a:close/>
              </a:path>
            </a:pathLst>
          </a:custGeom>
          <a:solidFill>
            <a:srgbClr val="5AA1F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rgbClr val="A26700"/>
              </a:solidFill>
            </a:endParaRPr>
          </a:p>
        </p:txBody>
      </p:sp>
      <p:sp>
        <p:nvSpPr>
          <p:cNvPr id="22" name="Google Shape;1139;p36">
            <a:extLst>
              <a:ext uri="{FF2B5EF4-FFF2-40B4-BE49-F238E27FC236}">
                <a16:creationId xmlns:a16="http://schemas.microsoft.com/office/drawing/2014/main" id="{2AD0A6F4-FB58-3950-3697-4C2B6DD64E5D}"/>
              </a:ext>
            </a:extLst>
          </p:cNvPr>
          <p:cNvSpPr/>
          <p:nvPr/>
        </p:nvSpPr>
        <p:spPr>
          <a:xfrm flipH="1">
            <a:off x="6195315" y="2722875"/>
            <a:ext cx="1309600" cy="1308925"/>
          </a:xfrm>
          <a:custGeom>
            <a:avLst/>
            <a:gdLst/>
            <a:ahLst/>
            <a:cxnLst/>
            <a:rect l="l" t="t" r="r" b="b"/>
            <a:pathLst>
              <a:path w="52384" h="52357" extrusionOk="0">
                <a:moveTo>
                  <a:pt x="0" y="52357"/>
                </a:moveTo>
                <a:lnTo>
                  <a:pt x="52312" y="52357"/>
                </a:lnTo>
                <a:lnTo>
                  <a:pt x="52383" y="1"/>
                </a:lnTo>
                <a:lnTo>
                  <a:pt x="51026" y="18"/>
                </a:lnTo>
                <a:lnTo>
                  <a:pt x="48347" y="152"/>
                </a:lnTo>
                <a:lnTo>
                  <a:pt x="45704" y="420"/>
                </a:lnTo>
                <a:lnTo>
                  <a:pt x="43105" y="813"/>
                </a:lnTo>
                <a:lnTo>
                  <a:pt x="40551" y="1340"/>
                </a:lnTo>
                <a:lnTo>
                  <a:pt x="38033" y="1983"/>
                </a:lnTo>
                <a:lnTo>
                  <a:pt x="35577" y="2751"/>
                </a:lnTo>
                <a:lnTo>
                  <a:pt x="33166" y="3626"/>
                </a:lnTo>
                <a:lnTo>
                  <a:pt x="30817" y="4626"/>
                </a:lnTo>
                <a:lnTo>
                  <a:pt x="28531" y="5725"/>
                </a:lnTo>
                <a:lnTo>
                  <a:pt x="26299" y="6939"/>
                </a:lnTo>
                <a:lnTo>
                  <a:pt x="24147" y="8243"/>
                </a:lnTo>
                <a:lnTo>
                  <a:pt x="22048" y="9654"/>
                </a:lnTo>
                <a:lnTo>
                  <a:pt x="20039" y="11163"/>
                </a:lnTo>
                <a:lnTo>
                  <a:pt x="18092" y="12761"/>
                </a:lnTo>
                <a:lnTo>
                  <a:pt x="16235" y="14458"/>
                </a:lnTo>
                <a:lnTo>
                  <a:pt x="14458" y="16235"/>
                </a:lnTo>
                <a:lnTo>
                  <a:pt x="12770" y="18093"/>
                </a:lnTo>
                <a:lnTo>
                  <a:pt x="11163" y="20030"/>
                </a:lnTo>
                <a:lnTo>
                  <a:pt x="9653" y="22049"/>
                </a:lnTo>
                <a:lnTo>
                  <a:pt x="8242" y="24138"/>
                </a:lnTo>
                <a:lnTo>
                  <a:pt x="6930" y="26290"/>
                </a:lnTo>
                <a:lnTo>
                  <a:pt x="5724" y="28523"/>
                </a:lnTo>
                <a:lnTo>
                  <a:pt x="4617" y="30809"/>
                </a:lnTo>
                <a:lnTo>
                  <a:pt x="3626" y="33157"/>
                </a:lnTo>
                <a:lnTo>
                  <a:pt x="2742" y="35560"/>
                </a:lnTo>
                <a:lnTo>
                  <a:pt x="1983" y="38024"/>
                </a:lnTo>
                <a:lnTo>
                  <a:pt x="1331" y="40534"/>
                </a:lnTo>
                <a:lnTo>
                  <a:pt x="813" y="43087"/>
                </a:lnTo>
                <a:lnTo>
                  <a:pt x="411" y="45686"/>
                </a:lnTo>
                <a:lnTo>
                  <a:pt x="143" y="48329"/>
                </a:lnTo>
                <a:lnTo>
                  <a:pt x="9" y="50999"/>
                </a:lnTo>
                <a:lnTo>
                  <a:pt x="0" y="52357"/>
                </a:lnTo>
                <a:close/>
              </a:path>
            </a:pathLst>
          </a:custGeom>
          <a:solidFill>
            <a:srgbClr val="5AA1F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40;p36">
            <a:extLst>
              <a:ext uri="{FF2B5EF4-FFF2-40B4-BE49-F238E27FC236}">
                <a16:creationId xmlns:a16="http://schemas.microsoft.com/office/drawing/2014/main" id="{739BE751-CB7A-1354-DFBA-8CF7794F1073}"/>
              </a:ext>
            </a:extLst>
          </p:cNvPr>
          <p:cNvSpPr/>
          <p:nvPr/>
        </p:nvSpPr>
        <p:spPr>
          <a:xfrm>
            <a:off x="4885715" y="2722875"/>
            <a:ext cx="1309600" cy="1308925"/>
          </a:xfrm>
          <a:custGeom>
            <a:avLst/>
            <a:gdLst/>
            <a:ahLst/>
            <a:cxnLst/>
            <a:rect l="l" t="t" r="r" b="b"/>
            <a:pathLst>
              <a:path w="52384" h="52357" extrusionOk="0">
                <a:moveTo>
                  <a:pt x="0" y="52357"/>
                </a:moveTo>
                <a:lnTo>
                  <a:pt x="52312" y="52357"/>
                </a:lnTo>
                <a:lnTo>
                  <a:pt x="52383" y="1"/>
                </a:lnTo>
                <a:lnTo>
                  <a:pt x="51026" y="18"/>
                </a:lnTo>
                <a:lnTo>
                  <a:pt x="48347" y="152"/>
                </a:lnTo>
                <a:lnTo>
                  <a:pt x="45704" y="420"/>
                </a:lnTo>
                <a:lnTo>
                  <a:pt x="43105" y="813"/>
                </a:lnTo>
                <a:lnTo>
                  <a:pt x="40551" y="1340"/>
                </a:lnTo>
                <a:lnTo>
                  <a:pt x="38033" y="1983"/>
                </a:lnTo>
                <a:lnTo>
                  <a:pt x="35577" y="2751"/>
                </a:lnTo>
                <a:lnTo>
                  <a:pt x="33166" y="3626"/>
                </a:lnTo>
                <a:lnTo>
                  <a:pt x="30817" y="4626"/>
                </a:lnTo>
                <a:lnTo>
                  <a:pt x="28531" y="5725"/>
                </a:lnTo>
                <a:lnTo>
                  <a:pt x="26299" y="6939"/>
                </a:lnTo>
                <a:lnTo>
                  <a:pt x="24147" y="8243"/>
                </a:lnTo>
                <a:lnTo>
                  <a:pt x="22048" y="9654"/>
                </a:lnTo>
                <a:lnTo>
                  <a:pt x="20039" y="11163"/>
                </a:lnTo>
                <a:lnTo>
                  <a:pt x="18092" y="12761"/>
                </a:lnTo>
                <a:lnTo>
                  <a:pt x="16235" y="14458"/>
                </a:lnTo>
                <a:lnTo>
                  <a:pt x="14458" y="16235"/>
                </a:lnTo>
                <a:lnTo>
                  <a:pt x="12770" y="18093"/>
                </a:lnTo>
                <a:lnTo>
                  <a:pt x="11163" y="20030"/>
                </a:lnTo>
                <a:lnTo>
                  <a:pt x="9653" y="22049"/>
                </a:lnTo>
                <a:lnTo>
                  <a:pt x="8242" y="24138"/>
                </a:lnTo>
                <a:lnTo>
                  <a:pt x="6930" y="26290"/>
                </a:lnTo>
                <a:lnTo>
                  <a:pt x="5724" y="28523"/>
                </a:lnTo>
                <a:lnTo>
                  <a:pt x="4617" y="30809"/>
                </a:lnTo>
                <a:lnTo>
                  <a:pt x="3626" y="33157"/>
                </a:lnTo>
                <a:lnTo>
                  <a:pt x="2742" y="35560"/>
                </a:lnTo>
                <a:lnTo>
                  <a:pt x="1983" y="38024"/>
                </a:lnTo>
                <a:lnTo>
                  <a:pt x="1331" y="40534"/>
                </a:lnTo>
                <a:lnTo>
                  <a:pt x="813" y="43087"/>
                </a:lnTo>
                <a:lnTo>
                  <a:pt x="411" y="45686"/>
                </a:lnTo>
                <a:lnTo>
                  <a:pt x="143" y="48329"/>
                </a:lnTo>
                <a:lnTo>
                  <a:pt x="9" y="50999"/>
                </a:lnTo>
                <a:lnTo>
                  <a:pt x="0" y="52357"/>
                </a:lnTo>
                <a:close/>
              </a:path>
            </a:pathLst>
          </a:custGeom>
          <a:solidFill>
            <a:srgbClr val="5AA1F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1141;p36">
            <a:extLst>
              <a:ext uri="{FF2B5EF4-FFF2-40B4-BE49-F238E27FC236}">
                <a16:creationId xmlns:a16="http://schemas.microsoft.com/office/drawing/2014/main" id="{9987A046-F1D7-8EEB-2CD3-A19268392335}"/>
              </a:ext>
            </a:extLst>
          </p:cNvPr>
          <p:cNvSpPr/>
          <p:nvPr/>
        </p:nvSpPr>
        <p:spPr>
          <a:xfrm rot="2050486" flipH="1">
            <a:off x="6442597" y="3193044"/>
            <a:ext cx="1309556" cy="1308881"/>
          </a:xfrm>
          <a:custGeom>
            <a:avLst/>
            <a:gdLst/>
            <a:ahLst/>
            <a:cxnLst/>
            <a:rect l="l" t="t" r="r" b="b"/>
            <a:pathLst>
              <a:path w="52384" h="52357" extrusionOk="0">
                <a:moveTo>
                  <a:pt x="0" y="52357"/>
                </a:moveTo>
                <a:lnTo>
                  <a:pt x="52312" y="52357"/>
                </a:lnTo>
                <a:lnTo>
                  <a:pt x="52383" y="1"/>
                </a:lnTo>
                <a:lnTo>
                  <a:pt x="51026" y="18"/>
                </a:lnTo>
                <a:lnTo>
                  <a:pt x="48347" y="152"/>
                </a:lnTo>
                <a:lnTo>
                  <a:pt x="45704" y="420"/>
                </a:lnTo>
                <a:lnTo>
                  <a:pt x="43105" y="813"/>
                </a:lnTo>
                <a:lnTo>
                  <a:pt x="40551" y="1340"/>
                </a:lnTo>
                <a:lnTo>
                  <a:pt x="38033" y="1983"/>
                </a:lnTo>
                <a:lnTo>
                  <a:pt x="35577" y="2751"/>
                </a:lnTo>
                <a:lnTo>
                  <a:pt x="33166" y="3626"/>
                </a:lnTo>
                <a:lnTo>
                  <a:pt x="30817" y="4626"/>
                </a:lnTo>
                <a:lnTo>
                  <a:pt x="28531" y="5725"/>
                </a:lnTo>
                <a:lnTo>
                  <a:pt x="26299" y="6939"/>
                </a:lnTo>
                <a:lnTo>
                  <a:pt x="24147" y="8243"/>
                </a:lnTo>
                <a:lnTo>
                  <a:pt x="22048" y="9654"/>
                </a:lnTo>
                <a:lnTo>
                  <a:pt x="20039" y="11163"/>
                </a:lnTo>
                <a:lnTo>
                  <a:pt x="18092" y="12761"/>
                </a:lnTo>
                <a:lnTo>
                  <a:pt x="16235" y="14458"/>
                </a:lnTo>
                <a:lnTo>
                  <a:pt x="14458" y="16235"/>
                </a:lnTo>
                <a:lnTo>
                  <a:pt x="12770" y="18093"/>
                </a:lnTo>
                <a:lnTo>
                  <a:pt x="11163" y="20030"/>
                </a:lnTo>
                <a:lnTo>
                  <a:pt x="9653" y="22049"/>
                </a:lnTo>
                <a:lnTo>
                  <a:pt x="8242" y="24138"/>
                </a:lnTo>
                <a:lnTo>
                  <a:pt x="6930" y="26290"/>
                </a:lnTo>
                <a:lnTo>
                  <a:pt x="5724" y="28523"/>
                </a:lnTo>
                <a:lnTo>
                  <a:pt x="4617" y="30809"/>
                </a:lnTo>
                <a:lnTo>
                  <a:pt x="3626" y="33157"/>
                </a:lnTo>
                <a:lnTo>
                  <a:pt x="2742" y="35560"/>
                </a:lnTo>
                <a:lnTo>
                  <a:pt x="1983" y="38024"/>
                </a:lnTo>
                <a:lnTo>
                  <a:pt x="1331" y="40534"/>
                </a:lnTo>
                <a:lnTo>
                  <a:pt x="813" y="43087"/>
                </a:lnTo>
                <a:lnTo>
                  <a:pt x="411" y="45686"/>
                </a:lnTo>
                <a:lnTo>
                  <a:pt x="143" y="48329"/>
                </a:lnTo>
                <a:lnTo>
                  <a:pt x="9" y="50999"/>
                </a:lnTo>
                <a:lnTo>
                  <a:pt x="0" y="52357"/>
                </a:lnTo>
                <a:close/>
              </a:path>
            </a:pathLst>
          </a:custGeom>
          <a:solidFill>
            <a:srgbClr val="5AA1F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highlight>
                <a:srgbClr val="FFFF00"/>
              </a:highlight>
            </a:endParaRPr>
          </a:p>
        </p:txBody>
      </p:sp>
      <p:sp>
        <p:nvSpPr>
          <p:cNvPr id="25" name="Google Shape;1142;p36">
            <a:extLst>
              <a:ext uri="{FF2B5EF4-FFF2-40B4-BE49-F238E27FC236}">
                <a16:creationId xmlns:a16="http://schemas.microsoft.com/office/drawing/2014/main" id="{2974060C-E4B7-7C6A-CF39-30E758D14483}"/>
              </a:ext>
            </a:extLst>
          </p:cNvPr>
          <p:cNvSpPr/>
          <p:nvPr/>
        </p:nvSpPr>
        <p:spPr>
          <a:xfrm>
            <a:off x="4875163" y="4039427"/>
            <a:ext cx="1308925" cy="1309600"/>
          </a:xfrm>
          <a:custGeom>
            <a:avLst/>
            <a:gdLst/>
            <a:ahLst/>
            <a:cxnLst/>
            <a:rect l="l" t="t" r="r" b="b"/>
            <a:pathLst>
              <a:path w="52357" h="52384" extrusionOk="0">
                <a:moveTo>
                  <a:pt x="52357" y="52383"/>
                </a:moveTo>
                <a:lnTo>
                  <a:pt x="52357" y="72"/>
                </a:lnTo>
                <a:lnTo>
                  <a:pt x="0" y="0"/>
                </a:lnTo>
                <a:lnTo>
                  <a:pt x="9" y="1349"/>
                </a:lnTo>
                <a:lnTo>
                  <a:pt x="152" y="4028"/>
                </a:lnTo>
                <a:lnTo>
                  <a:pt x="420" y="6671"/>
                </a:lnTo>
                <a:lnTo>
                  <a:pt x="813" y="9270"/>
                </a:lnTo>
                <a:lnTo>
                  <a:pt x="1340" y="11832"/>
                </a:lnTo>
                <a:lnTo>
                  <a:pt x="1983" y="14342"/>
                </a:lnTo>
                <a:lnTo>
                  <a:pt x="2751" y="16798"/>
                </a:lnTo>
                <a:lnTo>
                  <a:pt x="3626" y="19209"/>
                </a:lnTo>
                <a:lnTo>
                  <a:pt x="4617" y="21557"/>
                </a:lnTo>
                <a:lnTo>
                  <a:pt x="5725" y="23852"/>
                </a:lnTo>
                <a:lnTo>
                  <a:pt x="6930" y="26076"/>
                </a:lnTo>
                <a:lnTo>
                  <a:pt x="8243" y="28237"/>
                </a:lnTo>
                <a:lnTo>
                  <a:pt x="9654" y="30326"/>
                </a:lnTo>
                <a:lnTo>
                  <a:pt x="11163" y="32345"/>
                </a:lnTo>
                <a:lnTo>
                  <a:pt x="12761" y="34282"/>
                </a:lnTo>
                <a:lnTo>
                  <a:pt x="14449" y="36140"/>
                </a:lnTo>
                <a:lnTo>
                  <a:pt x="16226" y="37917"/>
                </a:lnTo>
                <a:lnTo>
                  <a:pt x="18093" y="39614"/>
                </a:lnTo>
                <a:lnTo>
                  <a:pt x="20030" y="41212"/>
                </a:lnTo>
                <a:lnTo>
                  <a:pt x="22040" y="42721"/>
                </a:lnTo>
                <a:lnTo>
                  <a:pt x="24129" y="44132"/>
                </a:lnTo>
                <a:lnTo>
                  <a:pt x="26290" y="45445"/>
                </a:lnTo>
                <a:lnTo>
                  <a:pt x="28514" y="46659"/>
                </a:lnTo>
                <a:lnTo>
                  <a:pt x="30809" y="47758"/>
                </a:lnTo>
                <a:lnTo>
                  <a:pt x="33157" y="48749"/>
                </a:lnTo>
                <a:lnTo>
                  <a:pt x="35560" y="49633"/>
                </a:lnTo>
                <a:lnTo>
                  <a:pt x="38015" y="50401"/>
                </a:lnTo>
                <a:lnTo>
                  <a:pt x="40525" y="51044"/>
                </a:lnTo>
                <a:lnTo>
                  <a:pt x="43088" y="51571"/>
                </a:lnTo>
                <a:lnTo>
                  <a:pt x="45686" y="51964"/>
                </a:lnTo>
                <a:lnTo>
                  <a:pt x="48320" y="52232"/>
                </a:lnTo>
                <a:lnTo>
                  <a:pt x="50999" y="52365"/>
                </a:lnTo>
                <a:lnTo>
                  <a:pt x="52357" y="52383"/>
                </a:lnTo>
                <a:close/>
              </a:path>
            </a:pathLst>
          </a:custGeom>
          <a:solidFill>
            <a:srgbClr val="13378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43;p36">
            <a:extLst>
              <a:ext uri="{FF2B5EF4-FFF2-40B4-BE49-F238E27FC236}">
                <a16:creationId xmlns:a16="http://schemas.microsoft.com/office/drawing/2014/main" id="{08BD1585-1474-EFBA-B33F-5306864445EF}"/>
              </a:ext>
            </a:extLst>
          </p:cNvPr>
          <p:cNvSpPr/>
          <p:nvPr/>
        </p:nvSpPr>
        <p:spPr>
          <a:xfrm>
            <a:off x="5232640" y="3070025"/>
            <a:ext cx="1922650" cy="1923300"/>
          </a:xfrm>
          <a:custGeom>
            <a:avLst/>
            <a:gdLst/>
            <a:ahLst/>
            <a:cxnLst/>
            <a:rect l="l" t="t" r="r" b="b"/>
            <a:pathLst>
              <a:path w="76906" h="76932" extrusionOk="0">
                <a:moveTo>
                  <a:pt x="38453" y="1"/>
                </a:moveTo>
                <a:lnTo>
                  <a:pt x="39444" y="9"/>
                </a:lnTo>
                <a:lnTo>
                  <a:pt x="41409" y="108"/>
                </a:lnTo>
                <a:lnTo>
                  <a:pt x="43346" y="304"/>
                </a:lnTo>
                <a:lnTo>
                  <a:pt x="45257" y="599"/>
                </a:lnTo>
                <a:lnTo>
                  <a:pt x="47133" y="983"/>
                </a:lnTo>
                <a:lnTo>
                  <a:pt x="48981" y="1456"/>
                </a:lnTo>
                <a:lnTo>
                  <a:pt x="50785" y="2019"/>
                </a:lnTo>
                <a:lnTo>
                  <a:pt x="52553" y="2662"/>
                </a:lnTo>
                <a:lnTo>
                  <a:pt x="54277" y="3394"/>
                </a:lnTo>
                <a:lnTo>
                  <a:pt x="55955" y="4207"/>
                </a:lnTo>
                <a:lnTo>
                  <a:pt x="57590" y="5091"/>
                </a:lnTo>
                <a:lnTo>
                  <a:pt x="59179" y="6055"/>
                </a:lnTo>
                <a:lnTo>
                  <a:pt x="60715" y="7091"/>
                </a:lnTo>
                <a:lnTo>
                  <a:pt x="62189" y="8198"/>
                </a:lnTo>
                <a:lnTo>
                  <a:pt x="63617" y="9377"/>
                </a:lnTo>
                <a:lnTo>
                  <a:pt x="64984" y="10618"/>
                </a:lnTo>
                <a:lnTo>
                  <a:pt x="66287" y="11922"/>
                </a:lnTo>
                <a:lnTo>
                  <a:pt x="67529" y="13288"/>
                </a:lnTo>
                <a:lnTo>
                  <a:pt x="68707" y="14717"/>
                </a:lnTo>
                <a:lnTo>
                  <a:pt x="69815" y="16199"/>
                </a:lnTo>
                <a:lnTo>
                  <a:pt x="70851" y="17735"/>
                </a:lnTo>
                <a:lnTo>
                  <a:pt x="71815" y="19316"/>
                </a:lnTo>
                <a:lnTo>
                  <a:pt x="72699" y="20950"/>
                </a:lnTo>
                <a:lnTo>
                  <a:pt x="73512" y="22638"/>
                </a:lnTo>
                <a:lnTo>
                  <a:pt x="74235" y="24361"/>
                </a:lnTo>
                <a:lnTo>
                  <a:pt x="74887" y="26130"/>
                </a:lnTo>
                <a:lnTo>
                  <a:pt x="75450" y="27933"/>
                </a:lnTo>
                <a:lnTo>
                  <a:pt x="75923" y="29782"/>
                </a:lnTo>
                <a:lnTo>
                  <a:pt x="76307" y="31657"/>
                </a:lnTo>
                <a:lnTo>
                  <a:pt x="76602" y="33568"/>
                </a:lnTo>
                <a:lnTo>
                  <a:pt x="76798" y="35506"/>
                </a:lnTo>
                <a:lnTo>
                  <a:pt x="76896" y="37471"/>
                </a:lnTo>
                <a:lnTo>
                  <a:pt x="76905" y="38471"/>
                </a:lnTo>
                <a:lnTo>
                  <a:pt x="76896" y="39462"/>
                </a:lnTo>
                <a:lnTo>
                  <a:pt x="76798" y="41427"/>
                </a:lnTo>
                <a:lnTo>
                  <a:pt x="76602" y="43364"/>
                </a:lnTo>
                <a:lnTo>
                  <a:pt x="76307" y="45275"/>
                </a:lnTo>
                <a:lnTo>
                  <a:pt x="75923" y="47151"/>
                </a:lnTo>
                <a:lnTo>
                  <a:pt x="75450" y="48999"/>
                </a:lnTo>
                <a:lnTo>
                  <a:pt x="74887" y="50803"/>
                </a:lnTo>
                <a:lnTo>
                  <a:pt x="74235" y="52571"/>
                </a:lnTo>
                <a:lnTo>
                  <a:pt x="73512" y="54295"/>
                </a:lnTo>
                <a:lnTo>
                  <a:pt x="72699" y="55982"/>
                </a:lnTo>
                <a:lnTo>
                  <a:pt x="71815" y="57617"/>
                </a:lnTo>
                <a:lnTo>
                  <a:pt x="70851" y="59197"/>
                </a:lnTo>
                <a:lnTo>
                  <a:pt x="69815" y="60733"/>
                </a:lnTo>
                <a:lnTo>
                  <a:pt x="68707" y="62215"/>
                </a:lnTo>
                <a:lnTo>
                  <a:pt x="67529" y="63644"/>
                </a:lnTo>
                <a:lnTo>
                  <a:pt x="66287" y="65011"/>
                </a:lnTo>
                <a:lnTo>
                  <a:pt x="64984" y="66314"/>
                </a:lnTo>
                <a:lnTo>
                  <a:pt x="63617" y="67556"/>
                </a:lnTo>
                <a:lnTo>
                  <a:pt x="62189" y="68725"/>
                </a:lnTo>
                <a:lnTo>
                  <a:pt x="60715" y="69833"/>
                </a:lnTo>
                <a:lnTo>
                  <a:pt x="59179" y="70878"/>
                </a:lnTo>
                <a:lnTo>
                  <a:pt x="57590" y="71842"/>
                </a:lnTo>
                <a:lnTo>
                  <a:pt x="55955" y="72726"/>
                </a:lnTo>
                <a:lnTo>
                  <a:pt x="54277" y="73539"/>
                </a:lnTo>
                <a:lnTo>
                  <a:pt x="52553" y="74262"/>
                </a:lnTo>
                <a:lnTo>
                  <a:pt x="50785" y="74914"/>
                </a:lnTo>
                <a:lnTo>
                  <a:pt x="48981" y="75476"/>
                </a:lnTo>
                <a:lnTo>
                  <a:pt x="47133" y="75950"/>
                </a:lnTo>
                <a:lnTo>
                  <a:pt x="45257" y="76334"/>
                </a:lnTo>
                <a:lnTo>
                  <a:pt x="43346" y="76628"/>
                </a:lnTo>
                <a:lnTo>
                  <a:pt x="41409" y="76825"/>
                </a:lnTo>
                <a:lnTo>
                  <a:pt x="39444" y="76923"/>
                </a:lnTo>
                <a:lnTo>
                  <a:pt x="38453" y="76932"/>
                </a:lnTo>
                <a:lnTo>
                  <a:pt x="37461" y="76923"/>
                </a:lnTo>
                <a:lnTo>
                  <a:pt x="35488" y="76825"/>
                </a:lnTo>
                <a:lnTo>
                  <a:pt x="33550" y="76628"/>
                </a:lnTo>
                <a:lnTo>
                  <a:pt x="31648" y="76334"/>
                </a:lnTo>
                <a:lnTo>
                  <a:pt x="29764" y="75950"/>
                </a:lnTo>
                <a:lnTo>
                  <a:pt x="27924" y="75476"/>
                </a:lnTo>
                <a:lnTo>
                  <a:pt x="26120" y="74914"/>
                </a:lnTo>
                <a:lnTo>
                  <a:pt x="24352" y="74262"/>
                </a:lnTo>
                <a:lnTo>
                  <a:pt x="22629" y="73539"/>
                </a:lnTo>
                <a:lnTo>
                  <a:pt x="20950" y="72726"/>
                </a:lnTo>
                <a:lnTo>
                  <a:pt x="19316" y="71842"/>
                </a:lnTo>
                <a:lnTo>
                  <a:pt x="17726" y="70878"/>
                </a:lnTo>
                <a:lnTo>
                  <a:pt x="16190" y="69833"/>
                </a:lnTo>
                <a:lnTo>
                  <a:pt x="14708" y="68725"/>
                </a:lnTo>
                <a:lnTo>
                  <a:pt x="13288" y="67556"/>
                </a:lnTo>
                <a:lnTo>
                  <a:pt x="11922" y="66314"/>
                </a:lnTo>
                <a:lnTo>
                  <a:pt x="10618" y="65011"/>
                </a:lnTo>
                <a:lnTo>
                  <a:pt x="9377" y="63644"/>
                </a:lnTo>
                <a:lnTo>
                  <a:pt x="8198" y="62215"/>
                </a:lnTo>
                <a:lnTo>
                  <a:pt x="7091" y="60733"/>
                </a:lnTo>
                <a:lnTo>
                  <a:pt x="6055" y="59197"/>
                </a:lnTo>
                <a:lnTo>
                  <a:pt x="5099" y="57617"/>
                </a:lnTo>
                <a:lnTo>
                  <a:pt x="4206" y="55982"/>
                </a:lnTo>
                <a:lnTo>
                  <a:pt x="3394" y="54295"/>
                </a:lnTo>
                <a:lnTo>
                  <a:pt x="2670" y="52571"/>
                </a:lnTo>
                <a:lnTo>
                  <a:pt x="2018" y="50803"/>
                </a:lnTo>
                <a:lnTo>
                  <a:pt x="1456" y="48999"/>
                </a:lnTo>
                <a:lnTo>
                  <a:pt x="983" y="47151"/>
                </a:lnTo>
                <a:lnTo>
                  <a:pt x="599" y="45275"/>
                </a:lnTo>
                <a:lnTo>
                  <a:pt x="313" y="43364"/>
                </a:lnTo>
                <a:lnTo>
                  <a:pt x="116" y="41427"/>
                </a:lnTo>
                <a:lnTo>
                  <a:pt x="9" y="39462"/>
                </a:lnTo>
                <a:lnTo>
                  <a:pt x="0" y="38471"/>
                </a:lnTo>
                <a:lnTo>
                  <a:pt x="9" y="37471"/>
                </a:lnTo>
                <a:lnTo>
                  <a:pt x="116" y="35506"/>
                </a:lnTo>
                <a:lnTo>
                  <a:pt x="313" y="33568"/>
                </a:lnTo>
                <a:lnTo>
                  <a:pt x="599" y="31657"/>
                </a:lnTo>
                <a:lnTo>
                  <a:pt x="983" y="29782"/>
                </a:lnTo>
                <a:lnTo>
                  <a:pt x="1456" y="27933"/>
                </a:lnTo>
                <a:lnTo>
                  <a:pt x="2018" y="26130"/>
                </a:lnTo>
                <a:lnTo>
                  <a:pt x="2670" y="24361"/>
                </a:lnTo>
                <a:lnTo>
                  <a:pt x="3394" y="22638"/>
                </a:lnTo>
                <a:lnTo>
                  <a:pt x="4206" y="20950"/>
                </a:lnTo>
                <a:lnTo>
                  <a:pt x="5099" y="19316"/>
                </a:lnTo>
                <a:lnTo>
                  <a:pt x="6055" y="17735"/>
                </a:lnTo>
                <a:lnTo>
                  <a:pt x="7091" y="16199"/>
                </a:lnTo>
                <a:lnTo>
                  <a:pt x="8198" y="14717"/>
                </a:lnTo>
                <a:lnTo>
                  <a:pt x="9377" y="13288"/>
                </a:lnTo>
                <a:lnTo>
                  <a:pt x="10618" y="11922"/>
                </a:lnTo>
                <a:lnTo>
                  <a:pt x="11922" y="10618"/>
                </a:lnTo>
                <a:lnTo>
                  <a:pt x="13288" y="9377"/>
                </a:lnTo>
                <a:lnTo>
                  <a:pt x="14708" y="8198"/>
                </a:lnTo>
                <a:lnTo>
                  <a:pt x="16190" y="7091"/>
                </a:lnTo>
                <a:lnTo>
                  <a:pt x="17726" y="6055"/>
                </a:lnTo>
                <a:lnTo>
                  <a:pt x="19316" y="5091"/>
                </a:lnTo>
                <a:lnTo>
                  <a:pt x="20950" y="4207"/>
                </a:lnTo>
                <a:lnTo>
                  <a:pt x="22629" y="3394"/>
                </a:lnTo>
                <a:lnTo>
                  <a:pt x="24352" y="2662"/>
                </a:lnTo>
                <a:lnTo>
                  <a:pt x="26120" y="2019"/>
                </a:lnTo>
                <a:lnTo>
                  <a:pt x="27924" y="1456"/>
                </a:lnTo>
                <a:lnTo>
                  <a:pt x="29764" y="983"/>
                </a:lnTo>
                <a:lnTo>
                  <a:pt x="31648" y="599"/>
                </a:lnTo>
                <a:lnTo>
                  <a:pt x="33550" y="304"/>
                </a:lnTo>
                <a:lnTo>
                  <a:pt x="35488" y="108"/>
                </a:lnTo>
                <a:lnTo>
                  <a:pt x="37461" y="9"/>
                </a:lnTo>
                <a:lnTo>
                  <a:pt x="38453" y="1"/>
                </a:lnTo>
                <a:close/>
              </a:path>
            </a:pathLst>
          </a:custGeom>
          <a:solidFill>
            <a:srgbClr val="FFFFFF">
              <a:alpha val="21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144;p36">
            <a:extLst>
              <a:ext uri="{FF2B5EF4-FFF2-40B4-BE49-F238E27FC236}">
                <a16:creationId xmlns:a16="http://schemas.microsoft.com/office/drawing/2014/main" id="{DADDBC64-4FB0-6F3E-BD4B-51E269703D48}"/>
              </a:ext>
            </a:extLst>
          </p:cNvPr>
          <p:cNvSpPr/>
          <p:nvPr/>
        </p:nvSpPr>
        <p:spPr>
          <a:xfrm>
            <a:off x="5478215" y="3315600"/>
            <a:ext cx="1431500" cy="1431950"/>
          </a:xfrm>
          <a:custGeom>
            <a:avLst/>
            <a:gdLst/>
            <a:ahLst/>
            <a:cxnLst/>
            <a:rect l="l" t="t" r="r" b="b"/>
            <a:pathLst>
              <a:path w="57260" h="57278" extrusionOk="0">
                <a:moveTo>
                  <a:pt x="0" y="28648"/>
                </a:moveTo>
                <a:lnTo>
                  <a:pt x="9" y="29380"/>
                </a:lnTo>
                <a:lnTo>
                  <a:pt x="81" y="30845"/>
                </a:lnTo>
                <a:lnTo>
                  <a:pt x="232" y="32291"/>
                </a:lnTo>
                <a:lnTo>
                  <a:pt x="447" y="33711"/>
                </a:lnTo>
                <a:lnTo>
                  <a:pt x="732" y="35113"/>
                </a:lnTo>
                <a:lnTo>
                  <a:pt x="1090" y="36488"/>
                </a:lnTo>
                <a:lnTo>
                  <a:pt x="1509" y="37828"/>
                </a:lnTo>
                <a:lnTo>
                  <a:pt x="1983" y="39149"/>
                </a:lnTo>
                <a:lnTo>
                  <a:pt x="2527" y="40426"/>
                </a:lnTo>
                <a:lnTo>
                  <a:pt x="3135" y="41685"/>
                </a:lnTo>
                <a:lnTo>
                  <a:pt x="3795" y="42900"/>
                </a:lnTo>
                <a:lnTo>
                  <a:pt x="4510" y="44079"/>
                </a:lnTo>
                <a:lnTo>
                  <a:pt x="5287" y="45222"/>
                </a:lnTo>
                <a:lnTo>
                  <a:pt x="6108" y="46329"/>
                </a:lnTo>
                <a:lnTo>
                  <a:pt x="6983" y="47383"/>
                </a:lnTo>
                <a:lnTo>
                  <a:pt x="7903" y="48401"/>
                </a:lnTo>
                <a:lnTo>
                  <a:pt x="8877" y="49374"/>
                </a:lnTo>
                <a:lnTo>
                  <a:pt x="9895" y="50303"/>
                </a:lnTo>
                <a:lnTo>
                  <a:pt x="10957" y="51178"/>
                </a:lnTo>
                <a:lnTo>
                  <a:pt x="12056" y="52000"/>
                </a:lnTo>
                <a:lnTo>
                  <a:pt x="13199" y="52768"/>
                </a:lnTo>
                <a:lnTo>
                  <a:pt x="14377" y="53491"/>
                </a:lnTo>
                <a:lnTo>
                  <a:pt x="15592" y="54152"/>
                </a:lnTo>
                <a:lnTo>
                  <a:pt x="16851" y="54750"/>
                </a:lnTo>
                <a:lnTo>
                  <a:pt x="18128" y="55295"/>
                </a:lnTo>
                <a:lnTo>
                  <a:pt x="19450" y="55777"/>
                </a:lnTo>
                <a:lnTo>
                  <a:pt x="20789" y="56197"/>
                </a:lnTo>
                <a:lnTo>
                  <a:pt x="22164" y="56554"/>
                </a:lnTo>
                <a:lnTo>
                  <a:pt x="23557" y="56840"/>
                </a:lnTo>
                <a:lnTo>
                  <a:pt x="24986" y="57054"/>
                </a:lnTo>
                <a:lnTo>
                  <a:pt x="26424" y="57197"/>
                </a:lnTo>
                <a:lnTo>
                  <a:pt x="27889" y="57277"/>
                </a:lnTo>
                <a:lnTo>
                  <a:pt x="28630" y="57277"/>
                </a:lnTo>
                <a:lnTo>
                  <a:pt x="28630" y="57277"/>
                </a:lnTo>
                <a:lnTo>
                  <a:pt x="29371" y="57277"/>
                </a:lnTo>
                <a:lnTo>
                  <a:pt x="30835" y="57197"/>
                </a:lnTo>
                <a:lnTo>
                  <a:pt x="32273" y="57054"/>
                </a:lnTo>
                <a:lnTo>
                  <a:pt x="33702" y="56840"/>
                </a:lnTo>
                <a:lnTo>
                  <a:pt x="35095" y="56554"/>
                </a:lnTo>
                <a:lnTo>
                  <a:pt x="36470" y="56197"/>
                </a:lnTo>
                <a:lnTo>
                  <a:pt x="37810" y="55777"/>
                </a:lnTo>
                <a:lnTo>
                  <a:pt x="39131" y="55295"/>
                </a:lnTo>
                <a:lnTo>
                  <a:pt x="40408" y="54750"/>
                </a:lnTo>
                <a:lnTo>
                  <a:pt x="41667" y="54152"/>
                </a:lnTo>
                <a:lnTo>
                  <a:pt x="42882" y="53491"/>
                </a:lnTo>
                <a:lnTo>
                  <a:pt x="44061" y="52768"/>
                </a:lnTo>
                <a:lnTo>
                  <a:pt x="45204" y="52000"/>
                </a:lnTo>
                <a:lnTo>
                  <a:pt x="46302" y="51178"/>
                </a:lnTo>
                <a:lnTo>
                  <a:pt x="47365" y="50303"/>
                </a:lnTo>
                <a:lnTo>
                  <a:pt x="48383" y="49374"/>
                </a:lnTo>
                <a:lnTo>
                  <a:pt x="49356" y="48401"/>
                </a:lnTo>
                <a:lnTo>
                  <a:pt x="50276" y="47383"/>
                </a:lnTo>
                <a:lnTo>
                  <a:pt x="51151" y="46329"/>
                </a:lnTo>
                <a:lnTo>
                  <a:pt x="51973" y="45222"/>
                </a:lnTo>
                <a:lnTo>
                  <a:pt x="52750" y="44079"/>
                </a:lnTo>
                <a:lnTo>
                  <a:pt x="53464" y="42900"/>
                </a:lnTo>
                <a:lnTo>
                  <a:pt x="54125" y="41685"/>
                </a:lnTo>
                <a:lnTo>
                  <a:pt x="54732" y="40426"/>
                </a:lnTo>
                <a:lnTo>
                  <a:pt x="55277" y="39149"/>
                </a:lnTo>
                <a:lnTo>
                  <a:pt x="55759" y="37828"/>
                </a:lnTo>
                <a:lnTo>
                  <a:pt x="56170" y="36488"/>
                </a:lnTo>
                <a:lnTo>
                  <a:pt x="56527" y="35113"/>
                </a:lnTo>
                <a:lnTo>
                  <a:pt x="56813" y="33711"/>
                </a:lnTo>
                <a:lnTo>
                  <a:pt x="57027" y="32291"/>
                </a:lnTo>
                <a:lnTo>
                  <a:pt x="57179" y="30845"/>
                </a:lnTo>
                <a:lnTo>
                  <a:pt x="57250" y="29380"/>
                </a:lnTo>
                <a:lnTo>
                  <a:pt x="57259" y="28648"/>
                </a:lnTo>
                <a:lnTo>
                  <a:pt x="57259" y="28648"/>
                </a:lnTo>
                <a:lnTo>
                  <a:pt x="57250" y="27907"/>
                </a:lnTo>
                <a:lnTo>
                  <a:pt x="57179" y="26442"/>
                </a:lnTo>
                <a:lnTo>
                  <a:pt x="57027" y="24995"/>
                </a:lnTo>
                <a:lnTo>
                  <a:pt x="56813" y="23576"/>
                </a:lnTo>
                <a:lnTo>
                  <a:pt x="56527" y="22174"/>
                </a:lnTo>
                <a:lnTo>
                  <a:pt x="56170" y="20798"/>
                </a:lnTo>
                <a:lnTo>
                  <a:pt x="55759" y="19459"/>
                </a:lnTo>
                <a:lnTo>
                  <a:pt x="55277" y="18137"/>
                </a:lnTo>
                <a:lnTo>
                  <a:pt x="54732" y="16860"/>
                </a:lnTo>
                <a:lnTo>
                  <a:pt x="54125" y="15601"/>
                </a:lnTo>
                <a:lnTo>
                  <a:pt x="53464" y="14387"/>
                </a:lnTo>
                <a:lnTo>
                  <a:pt x="52750" y="13208"/>
                </a:lnTo>
                <a:lnTo>
                  <a:pt x="51973" y="12065"/>
                </a:lnTo>
                <a:lnTo>
                  <a:pt x="51151" y="10958"/>
                </a:lnTo>
                <a:lnTo>
                  <a:pt x="50276" y="9904"/>
                </a:lnTo>
                <a:lnTo>
                  <a:pt x="49356" y="8886"/>
                </a:lnTo>
                <a:lnTo>
                  <a:pt x="48383" y="7912"/>
                </a:lnTo>
                <a:lnTo>
                  <a:pt x="47365" y="6984"/>
                </a:lnTo>
                <a:lnTo>
                  <a:pt x="46302" y="6109"/>
                </a:lnTo>
                <a:lnTo>
                  <a:pt x="45204" y="5287"/>
                </a:lnTo>
                <a:lnTo>
                  <a:pt x="44061" y="4510"/>
                </a:lnTo>
                <a:lnTo>
                  <a:pt x="42882" y="3796"/>
                </a:lnTo>
                <a:lnTo>
                  <a:pt x="41667" y="3135"/>
                </a:lnTo>
                <a:lnTo>
                  <a:pt x="40408" y="2528"/>
                </a:lnTo>
                <a:lnTo>
                  <a:pt x="39131" y="1992"/>
                </a:lnTo>
                <a:lnTo>
                  <a:pt x="37810" y="1510"/>
                </a:lnTo>
                <a:lnTo>
                  <a:pt x="36470" y="1090"/>
                </a:lnTo>
                <a:lnTo>
                  <a:pt x="35095" y="733"/>
                </a:lnTo>
                <a:lnTo>
                  <a:pt x="33702" y="447"/>
                </a:lnTo>
                <a:lnTo>
                  <a:pt x="32273" y="233"/>
                </a:lnTo>
                <a:lnTo>
                  <a:pt x="30835" y="81"/>
                </a:lnTo>
                <a:lnTo>
                  <a:pt x="29371" y="9"/>
                </a:lnTo>
                <a:lnTo>
                  <a:pt x="28630" y="0"/>
                </a:lnTo>
                <a:lnTo>
                  <a:pt x="28630" y="0"/>
                </a:lnTo>
                <a:lnTo>
                  <a:pt x="27889" y="9"/>
                </a:lnTo>
                <a:lnTo>
                  <a:pt x="26424" y="81"/>
                </a:lnTo>
                <a:lnTo>
                  <a:pt x="24986" y="233"/>
                </a:lnTo>
                <a:lnTo>
                  <a:pt x="23557" y="447"/>
                </a:lnTo>
                <a:lnTo>
                  <a:pt x="22164" y="733"/>
                </a:lnTo>
                <a:lnTo>
                  <a:pt x="20789" y="1090"/>
                </a:lnTo>
                <a:lnTo>
                  <a:pt x="19450" y="1510"/>
                </a:lnTo>
                <a:lnTo>
                  <a:pt x="18128" y="1992"/>
                </a:lnTo>
                <a:lnTo>
                  <a:pt x="16851" y="2528"/>
                </a:lnTo>
                <a:lnTo>
                  <a:pt x="15592" y="3135"/>
                </a:lnTo>
                <a:lnTo>
                  <a:pt x="14377" y="3796"/>
                </a:lnTo>
                <a:lnTo>
                  <a:pt x="13199" y="4510"/>
                </a:lnTo>
                <a:lnTo>
                  <a:pt x="12056" y="5287"/>
                </a:lnTo>
                <a:lnTo>
                  <a:pt x="10957" y="6109"/>
                </a:lnTo>
                <a:lnTo>
                  <a:pt x="9895" y="6984"/>
                </a:lnTo>
                <a:lnTo>
                  <a:pt x="8877" y="7912"/>
                </a:lnTo>
                <a:lnTo>
                  <a:pt x="7903" y="8886"/>
                </a:lnTo>
                <a:lnTo>
                  <a:pt x="6983" y="9904"/>
                </a:lnTo>
                <a:lnTo>
                  <a:pt x="6108" y="10958"/>
                </a:lnTo>
                <a:lnTo>
                  <a:pt x="5287" y="12065"/>
                </a:lnTo>
                <a:lnTo>
                  <a:pt x="4510" y="13208"/>
                </a:lnTo>
                <a:lnTo>
                  <a:pt x="3795" y="14387"/>
                </a:lnTo>
                <a:lnTo>
                  <a:pt x="3135" y="15601"/>
                </a:lnTo>
                <a:lnTo>
                  <a:pt x="2527" y="16860"/>
                </a:lnTo>
                <a:lnTo>
                  <a:pt x="1983" y="18137"/>
                </a:lnTo>
                <a:lnTo>
                  <a:pt x="1509" y="19459"/>
                </a:lnTo>
                <a:lnTo>
                  <a:pt x="1090" y="20798"/>
                </a:lnTo>
                <a:lnTo>
                  <a:pt x="732" y="22174"/>
                </a:lnTo>
                <a:lnTo>
                  <a:pt x="447" y="23576"/>
                </a:lnTo>
                <a:lnTo>
                  <a:pt x="232" y="24995"/>
                </a:lnTo>
                <a:lnTo>
                  <a:pt x="81" y="26442"/>
                </a:lnTo>
                <a:lnTo>
                  <a:pt x="9" y="27907"/>
                </a:lnTo>
                <a:lnTo>
                  <a:pt x="0" y="28648"/>
                </a:lnTo>
                <a:close/>
              </a:path>
            </a:pathLst>
          </a:custGeom>
          <a:solidFill>
            <a:srgbClr val="F1F0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145;p36">
            <a:extLst>
              <a:ext uri="{FF2B5EF4-FFF2-40B4-BE49-F238E27FC236}">
                <a16:creationId xmlns:a16="http://schemas.microsoft.com/office/drawing/2014/main" id="{B722479E-AFD0-A1DC-3436-417DC89CB6E9}"/>
              </a:ext>
            </a:extLst>
          </p:cNvPr>
          <p:cNvSpPr/>
          <p:nvPr/>
        </p:nvSpPr>
        <p:spPr>
          <a:xfrm>
            <a:off x="5591840" y="3429000"/>
            <a:ext cx="1204450" cy="1205125"/>
          </a:xfrm>
          <a:custGeom>
            <a:avLst/>
            <a:gdLst/>
            <a:ahLst/>
            <a:cxnLst/>
            <a:rect l="l" t="t" r="r" b="b"/>
            <a:pathLst>
              <a:path w="48178" h="48205" extrusionOk="0">
                <a:moveTo>
                  <a:pt x="7046" y="7064"/>
                </a:moveTo>
                <a:lnTo>
                  <a:pt x="6618" y="7502"/>
                </a:lnTo>
                <a:lnTo>
                  <a:pt x="5787" y="8422"/>
                </a:lnTo>
                <a:lnTo>
                  <a:pt x="5010" y="9368"/>
                </a:lnTo>
                <a:lnTo>
                  <a:pt x="4296" y="10342"/>
                </a:lnTo>
                <a:lnTo>
                  <a:pt x="3635" y="11342"/>
                </a:lnTo>
                <a:lnTo>
                  <a:pt x="3028" y="12369"/>
                </a:lnTo>
                <a:lnTo>
                  <a:pt x="2474" y="13423"/>
                </a:lnTo>
                <a:lnTo>
                  <a:pt x="1983" y="14494"/>
                </a:lnTo>
                <a:lnTo>
                  <a:pt x="1537" y="15584"/>
                </a:lnTo>
                <a:lnTo>
                  <a:pt x="1153" y="16682"/>
                </a:lnTo>
                <a:lnTo>
                  <a:pt x="822" y="17807"/>
                </a:lnTo>
                <a:lnTo>
                  <a:pt x="545" y="18932"/>
                </a:lnTo>
                <a:lnTo>
                  <a:pt x="331" y="20075"/>
                </a:lnTo>
                <a:lnTo>
                  <a:pt x="161" y="21218"/>
                </a:lnTo>
                <a:lnTo>
                  <a:pt x="54" y="22370"/>
                </a:lnTo>
                <a:lnTo>
                  <a:pt x="1" y="23531"/>
                </a:lnTo>
                <a:lnTo>
                  <a:pt x="1" y="24683"/>
                </a:lnTo>
                <a:lnTo>
                  <a:pt x="54" y="25835"/>
                </a:lnTo>
                <a:lnTo>
                  <a:pt x="161" y="26996"/>
                </a:lnTo>
                <a:lnTo>
                  <a:pt x="331" y="28139"/>
                </a:lnTo>
                <a:lnTo>
                  <a:pt x="545" y="29282"/>
                </a:lnTo>
                <a:lnTo>
                  <a:pt x="822" y="30407"/>
                </a:lnTo>
                <a:lnTo>
                  <a:pt x="1153" y="31524"/>
                </a:lnTo>
                <a:lnTo>
                  <a:pt x="1537" y="32631"/>
                </a:lnTo>
                <a:lnTo>
                  <a:pt x="1983" y="33720"/>
                </a:lnTo>
                <a:lnTo>
                  <a:pt x="2474" y="34792"/>
                </a:lnTo>
                <a:lnTo>
                  <a:pt x="3028" y="35837"/>
                </a:lnTo>
                <a:lnTo>
                  <a:pt x="3635" y="36864"/>
                </a:lnTo>
                <a:lnTo>
                  <a:pt x="4296" y="37864"/>
                </a:lnTo>
                <a:lnTo>
                  <a:pt x="5010" y="38846"/>
                </a:lnTo>
                <a:lnTo>
                  <a:pt x="5787" y="39793"/>
                </a:lnTo>
                <a:lnTo>
                  <a:pt x="6609" y="40704"/>
                </a:lnTo>
                <a:lnTo>
                  <a:pt x="7046" y="41150"/>
                </a:lnTo>
                <a:lnTo>
                  <a:pt x="7046" y="41150"/>
                </a:lnTo>
                <a:lnTo>
                  <a:pt x="7493" y="41588"/>
                </a:lnTo>
                <a:lnTo>
                  <a:pt x="8404" y="42409"/>
                </a:lnTo>
                <a:lnTo>
                  <a:pt x="9350" y="43186"/>
                </a:lnTo>
                <a:lnTo>
                  <a:pt x="10333" y="43901"/>
                </a:lnTo>
                <a:lnTo>
                  <a:pt x="11333" y="44561"/>
                </a:lnTo>
                <a:lnTo>
                  <a:pt x="12360" y="45169"/>
                </a:lnTo>
                <a:lnTo>
                  <a:pt x="13404" y="45722"/>
                </a:lnTo>
                <a:lnTo>
                  <a:pt x="14476" y="46222"/>
                </a:lnTo>
                <a:lnTo>
                  <a:pt x="15566" y="46660"/>
                </a:lnTo>
                <a:lnTo>
                  <a:pt x="16664" y="47044"/>
                </a:lnTo>
                <a:lnTo>
                  <a:pt x="17789" y="47374"/>
                </a:lnTo>
                <a:lnTo>
                  <a:pt x="18914" y="47651"/>
                </a:lnTo>
                <a:lnTo>
                  <a:pt x="20057" y="47874"/>
                </a:lnTo>
                <a:lnTo>
                  <a:pt x="21200" y="48035"/>
                </a:lnTo>
                <a:lnTo>
                  <a:pt x="22352" y="48151"/>
                </a:lnTo>
                <a:lnTo>
                  <a:pt x="23504" y="48205"/>
                </a:lnTo>
                <a:lnTo>
                  <a:pt x="24665" y="48205"/>
                </a:lnTo>
                <a:lnTo>
                  <a:pt x="25817" y="48151"/>
                </a:lnTo>
                <a:lnTo>
                  <a:pt x="26969" y="48035"/>
                </a:lnTo>
                <a:lnTo>
                  <a:pt x="28121" y="47874"/>
                </a:lnTo>
                <a:lnTo>
                  <a:pt x="29255" y="47651"/>
                </a:lnTo>
                <a:lnTo>
                  <a:pt x="30389" y="47374"/>
                </a:lnTo>
                <a:lnTo>
                  <a:pt x="31505" y="47044"/>
                </a:lnTo>
                <a:lnTo>
                  <a:pt x="32604" y="46660"/>
                </a:lnTo>
                <a:lnTo>
                  <a:pt x="33693" y="46222"/>
                </a:lnTo>
                <a:lnTo>
                  <a:pt x="34765" y="45722"/>
                </a:lnTo>
                <a:lnTo>
                  <a:pt x="35810" y="45169"/>
                </a:lnTo>
                <a:lnTo>
                  <a:pt x="36837" y="44561"/>
                </a:lnTo>
                <a:lnTo>
                  <a:pt x="37837" y="43901"/>
                </a:lnTo>
                <a:lnTo>
                  <a:pt x="38819" y="43186"/>
                </a:lnTo>
                <a:lnTo>
                  <a:pt x="39766" y="42409"/>
                </a:lnTo>
                <a:lnTo>
                  <a:pt x="40677" y="41588"/>
                </a:lnTo>
                <a:lnTo>
                  <a:pt x="41123" y="41150"/>
                </a:lnTo>
                <a:lnTo>
                  <a:pt x="41123" y="41150"/>
                </a:lnTo>
                <a:lnTo>
                  <a:pt x="41561" y="40704"/>
                </a:lnTo>
                <a:lnTo>
                  <a:pt x="42382" y="39793"/>
                </a:lnTo>
                <a:lnTo>
                  <a:pt x="43159" y="38846"/>
                </a:lnTo>
                <a:lnTo>
                  <a:pt x="43873" y="37864"/>
                </a:lnTo>
                <a:lnTo>
                  <a:pt x="44534" y="36864"/>
                </a:lnTo>
                <a:lnTo>
                  <a:pt x="45142" y="35837"/>
                </a:lnTo>
                <a:lnTo>
                  <a:pt x="45695" y="34792"/>
                </a:lnTo>
                <a:lnTo>
                  <a:pt x="46186" y="33720"/>
                </a:lnTo>
                <a:lnTo>
                  <a:pt x="46633" y="32631"/>
                </a:lnTo>
                <a:lnTo>
                  <a:pt x="47017" y="31524"/>
                </a:lnTo>
                <a:lnTo>
                  <a:pt x="47347" y="30407"/>
                </a:lnTo>
                <a:lnTo>
                  <a:pt x="47624" y="29282"/>
                </a:lnTo>
                <a:lnTo>
                  <a:pt x="47847" y="28139"/>
                </a:lnTo>
                <a:lnTo>
                  <a:pt x="48008" y="26996"/>
                </a:lnTo>
                <a:lnTo>
                  <a:pt x="48115" y="25835"/>
                </a:lnTo>
                <a:lnTo>
                  <a:pt x="48178" y="24683"/>
                </a:lnTo>
                <a:lnTo>
                  <a:pt x="48178" y="23531"/>
                </a:lnTo>
                <a:lnTo>
                  <a:pt x="48115" y="22370"/>
                </a:lnTo>
                <a:lnTo>
                  <a:pt x="48008" y="21218"/>
                </a:lnTo>
                <a:lnTo>
                  <a:pt x="47838" y="20075"/>
                </a:lnTo>
                <a:lnTo>
                  <a:pt x="47624" y="18932"/>
                </a:lnTo>
                <a:lnTo>
                  <a:pt x="47347" y="17807"/>
                </a:lnTo>
                <a:lnTo>
                  <a:pt x="47017" y="16682"/>
                </a:lnTo>
                <a:lnTo>
                  <a:pt x="46633" y="15584"/>
                </a:lnTo>
                <a:lnTo>
                  <a:pt x="46186" y="14494"/>
                </a:lnTo>
                <a:lnTo>
                  <a:pt x="45695" y="13423"/>
                </a:lnTo>
                <a:lnTo>
                  <a:pt x="45142" y="12369"/>
                </a:lnTo>
                <a:lnTo>
                  <a:pt x="44534" y="11342"/>
                </a:lnTo>
                <a:lnTo>
                  <a:pt x="43873" y="10342"/>
                </a:lnTo>
                <a:lnTo>
                  <a:pt x="43159" y="9368"/>
                </a:lnTo>
                <a:lnTo>
                  <a:pt x="42382" y="8422"/>
                </a:lnTo>
                <a:lnTo>
                  <a:pt x="41561" y="7502"/>
                </a:lnTo>
                <a:lnTo>
                  <a:pt x="41123" y="7064"/>
                </a:lnTo>
                <a:lnTo>
                  <a:pt x="41123" y="7064"/>
                </a:lnTo>
                <a:lnTo>
                  <a:pt x="40677" y="6627"/>
                </a:lnTo>
                <a:lnTo>
                  <a:pt x="39766" y="5796"/>
                </a:lnTo>
                <a:lnTo>
                  <a:pt x="38819" y="5028"/>
                </a:lnTo>
                <a:lnTo>
                  <a:pt x="37837" y="4305"/>
                </a:lnTo>
                <a:lnTo>
                  <a:pt x="36837" y="3644"/>
                </a:lnTo>
                <a:lnTo>
                  <a:pt x="35810" y="3037"/>
                </a:lnTo>
                <a:lnTo>
                  <a:pt x="34765" y="2492"/>
                </a:lnTo>
                <a:lnTo>
                  <a:pt x="33693" y="1992"/>
                </a:lnTo>
                <a:lnTo>
                  <a:pt x="32604" y="1555"/>
                </a:lnTo>
                <a:lnTo>
                  <a:pt x="31505" y="1162"/>
                </a:lnTo>
                <a:lnTo>
                  <a:pt x="30380" y="831"/>
                </a:lnTo>
                <a:lnTo>
                  <a:pt x="29255" y="555"/>
                </a:lnTo>
                <a:lnTo>
                  <a:pt x="28112" y="340"/>
                </a:lnTo>
                <a:lnTo>
                  <a:pt x="26969" y="171"/>
                </a:lnTo>
                <a:lnTo>
                  <a:pt x="25817" y="63"/>
                </a:lnTo>
                <a:lnTo>
                  <a:pt x="24665" y="10"/>
                </a:lnTo>
                <a:lnTo>
                  <a:pt x="24085" y="1"/>
                </a:lnTo>
                <a:lnTo>
                  <a:pt x="24085" y="1"/>
                </a:lnTo>
                <a:lnTo>
                  <a:pt x="23504" y="10"/>
                </a:lnTo>
                <a:lnTo>
                  <a:pt x="22352" y="63"/>
                </a:lnTo>
                <a:lnTo>
                  <a:pt x="21200" y="171"/>
                </a:lnTo>
                <a:lnTo>
                  <a:pt x="20057" y="340"/>
                </a:lnTo>
                <a:lnTo>
                  <a:pt x="18914" y="555"/>
                </a:lnTo>
                <a:lnTo>
                  <a:pt x="17789" y="831"/>
                </a:lnTo>
                <a:lnTo>
                  <a:pt x="16664" y="1162"/>
                </a:lnTo>
                <a:lnTo>
                  <a:pt x="15566" y="1555"/>
                </a:lnTo>
                <a:lnTo>
                  <a:pt x="14476" y="1992"/>
                </a:lnTo>
                <a:lnTo>
                  <a:pt x="13404" y="2492"/>
                </a:lnTo>
                <a:lnTo>
                  <a:pt x="12360" y="3037"/>
                </a:lnTo>
                <a:lnTo>
                  <a:pt x="11333" y="3644"/>
                </a:lnTo>
                <a:lnTo>
                  <a:pt x="10333" y="4305"/>
                </a:lnTo>
                <a:lnTo>
                  <a:pt x="9359" y="5028"/>
                </a:lnTo>
                <a:lnTo>
                  <a:pt x="8413" y="5796"/>
                </a:lnTo>
                <a:lnTo>
                  <a:pt x="7493" y="6627"/>
                </a:lnTo>
                <a:lnTo>
                  <a:pt x="7046" y="7064"/>
                </a:lnTo>
                <a:close/>
              </a:path>
            </a:pathLst>
          </a:custGeom>
          <a:solidFill>
            <a:srgbClr val="E1E1E4">
              <a:alpha val="678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149;p36">
            <a:extLst>
              <a:ext uri="{FF2B5EF4-FFF2-40B4-BE49-F238E27FC236}">
                <a16:creationId xmlns:a16="http://schemas.microsoft.com/office/drawing/2014/main" id="{FA2F2D14-7122-188F-0738-DF2CB608D84B}"/>
              </a:ext>
            </a:extLst>
          </p:cNvPr>
          <p:cNvSpPr txBox="1"/>
          <p:nvPr/>
        </p:nvSpPr>
        <p:spPr>
          <a:xfrm>
            <a:off x="1864806" y="3347988"/>
            <a:ext cx="2200745" cy="410100"/>
          </a:xfrm>
          <a:prstGeom prst="rect">
            <a:avLst/>
          </a:prstGeom>
          <a:noFill/>
          <a:ln>
            <a:noFill/>
          </a:ln>
        </p:spPr>
        <p:txBody>
          <a:bodyPr spcFirstLastPara="1" wrap="square" lIns="91425" tIns="91425" rIns="91425" bIns="91425" anchor="ctr" anchorCtr="0">
            <a:noAutofit/>
          </a:bodyPr>
          <a:lstStyle/>
          <a:p>
            <a:pPr lvl="0"/>
            <a:r>
              <a:rPr lang="en-US" sz="2000" b="1" i="1" dirty="0">
                <a:solidFill>
                  <a:schemeClr val="bg1"/>
                </a:solidFill>
              </a:rPr>
              <a:t>Apport personnel</a:t>
            </a:r>
            <a:endParaRPr sz="2000" b="1" i="1" dirty="0">
              <a:solidFill>
                <a:schemeClr val="bg1"/>
              </a:solidFill>
              <a:latin typeface="Fira Sans"/>
              <a:ea typeface="Fira Sans"/>
              <a:cs typeface="Fira Sans"/>
              <a:sym typeface="Fira Sans"/>
            </a:endParaRPr>
          </a:p>
        </p:txBody>
      </p:sp>
      <p:sp>
        <p:nvSpPr>
          <p:cNvPr id="31" name="Google Shape;1150;p36">
            <a:extLst>
              <a:ext uri="{FF2B5EF4-FFF2-40B4-BE49-F238E27FC236}">
                <a16:creationId xmlns:a16="http://schemas.microsoft.com/office/drawing/2014/main" id="{7EB194AA-0575-64B1-DB6B-22578EBD8F92}"/>
              </a:ext>
            </a:extLst>
          </p:cNvPr>
          <p:cNvSpPr txBox="1"/>
          <p:nvPr/>
        </p:nvSpPr>
        <p:spPr>
          <a:xfrm>
            <a:off x="7914803" y="3345730"/>
            <a:ext cx="2749512" cy="410100"/>
          </a:xfrm>
          <a:prstGeom prst="rect">
            <a:avLst/>
          </a:prstGeom>
          <a:noFill/>
          <a:ln>
            <a:noFill/>
          </a:ln>
        </p:spPr>
        <p:txBody>
          <a:bodyPr spcFirstLastPara="1" wrap="square" lIns="91425" tIns="91425" rIns="91425" bIns="91425" anchor="ctr" anchorCtr="0">
            <a:noAutofit/>
          </a:bodyPr>
          <a:lstStyle/>
          <a:p>
            <a:pPr lvl="0" algn="r"/>
            <a:r>
              <a:rPr lang="en-US" sz="2000" b="1" i="1" dirty="0">
                <a:solidFill>
                  <a:schemeClr val="bg1"/>
                </a:solidFill>
              </a:rPr>
              <a:t>Emprunt bancaire (STB) </a:t>
            </a:r>
            <a:endParaRPr sz="2000" b="1" i="1" dirty="0">
              <a:solidFill>
                <a:schemeClr val="bg1"/>
              </a:solidFill>
              <a:latin typeface="Fira Sans"/>
              <a:ea typeface="Fira Sans"/>
              <a:cs typeface="Fira Sans"/>
              <a:sym typeface="Fira Sans"/>
            </a:endParaRPr>
          </a:p>
        </p:txBody>
      </p:sp>
      <p:grpSp>
        <p:nvGrpSpPr>
          <p:cNvPr id="32" name="Google Shape;1152;p36">
            <a:extLst>
              <a:ext uri="{FF2B5EF4-FFF2-40B4-BE49-F238E27FC236}">
                <a16:creationId xmlns:a16="http://schemas.microsoft.com/office/drawing/2014/main" id="{3C4672F6-ED63-5180-9FDB-9706334DD2A4}"/>
              </a:ext>
            </a:extLst>
          </p:cNvPr>
          <p:cNvGrpSpPr/>
          <p:nvPr/>
        </p:nvGrpSpPr>
        <p:grpSpPr>
          <a:xfrm>
            <a:off x="5943187" y="3803654"/>
            <a:ext cx="501777" cy="455853"/>
            <a:chOff x="-62518200" y="2692475"/>
            <a:chExt cx="318225" cy="289100"/>
          </a:xfrm>
        </p:grpSpPr>
        <p:sp>
          <p:nvSpPr>
            <p:cNvPr id="33" name="Google Shape;1153;p36">
              <a:extLst>
                <a:ext uri="{FF2B5EF4-FFF2-40B4-BE49-F238E27FC236}">
                  <a16:creationId xmlns:a16="http://schemas.microsoft.com/office/drawing/2014/main" id="{4EEA6E18-AB48-6FA1-4DDD-2E09A270425F}"/>
                </a:ext>
              </a:extLst>
            </p:cNvPr>
            <p:cNvSpPr/>
            <p:nvPr/>
          </p:nvSpPr>
          <p:spPr>
            <a:xfrm>
              <a:off x="-62518200" y="2692475"/>
              <a:ext cx="318225" cy="289100"/>
            </a:xfrm>
            <a:custGeom>
              <a:avLst/>
              <a:gdLst/>
              <a:ahLst/>
              <a:cxnLst/>
              <a:rect l="l" t="t" r="r" b="b"/>
              <a:pathLst>
                <a:path w="12729" h="11564" extrusionOk="0">
                  <a:moveTo>
                    <a:pt x="3750" y="851"/>
                  </a:moveTo>
                  <a:cubicBezTo>
                    <a:pt x="5420" y="851"/>
                    <a:pt x="6617" y="1513"/>
                    <a:pt x="6617" y="2112"/>
                  </a:cubicBezTo>
                  <a:cubicBezTo>
                    <a:pt x="6617" y="2679"/>
                    <a:pt x="5420" y="3309"/>
                    <a:pt x="3750" y="3309"/>
                  </a:cubicBezTo>
                  <a:cubicBezTo>
                    <a:pt x="2206" y="3309"/>
                    <a:pt x="851" y="2679"/>
                    <a:pt x="851" y="2112"/>
                  </a:cubicBezTo>
                  <a:cubicBezTo>
                    <a:pt x="851" y="1481"/>
                    <a:pt x="2112" y="851"/>
                    <a:pt x="3750" y="851"/>
                  </a:cubicBezTo>
                  <a:close/>
                  <a:moveTo>
                    <a:pt x="6617" y="3403"/>
                  </a:moveTo>
                  <a:lnTo>
                    <a:pt x="6617" y="3781"/>
                  </a:lnTo>
                  <a:cubicBezTo>
                    <a:pt x="5829" y="4222"/>
                    <a:pt x="5199" y="4884"/>
                    <a:pt x="4821" y="5672"/>
                  </a:cubicBezTo>
                  <a:cubicBezTo>
                    <a:pt x="4475" y="5766"/>
                    <a:pt x="4096" y="5766"/>
                    <a:pt x="3750" y="5766"/>
                  </a:cubicBezTo>
                  <a:cubicBezTo>
                    <a:pt x="2206" y="5766"/>
                    <a:pt x="851" y="5136"/>
                    <a:pt x="851" y="4506"/>
                  </a:cubicBezTo>
                  <a:lnTo>
                    <a:pt x="851" y="3403"/>
                  </a:lnTo>
                  <a:cubicBezTo>
                    <a:pt x="1639" y="3939"/>
                    <a:pt x="2742" y="4159"/>
                    <a:pt x="3750" y="4159"/>
                  </a:cubicBezTo>
                  <a:cubicBezTo>
                    <a:pt x="4727" y="4159"/>
                    <a:pt x="5829" y="3939"/>
                    <a:pt x="6617" y="3403"/>
                  </a:cubicBezTo>
                  <a:close/>
                  <a:moveTo>
                    <a:pt x="883" y="5913"/>
                  </a:moveTo>
                  <a:cubicBezTo>
                    <a:pt x="1396" y="6254"/>
                    <a:pt x="2361" y="6617"/>
                    <a:pt x="3750" y="6617"/>
                  </a:cubicBezTo>
                  <a:cubicBezTo>
                    <a:pt x="4033" y="6617"/>
                    <a:pt x="4254" y="6617"/>
                    <a:pt x="4538" y="6585"/>
                  </a:cubicBezTo>
                  <a:lnTo>
                    <a:pt x="4538" y="6585"/>
                  </a:lnTo>
                  <a:cubicBezTo>
                    <a:pt x="4475" y="6869"/>
                    <a:pt x="4475" y="7184"/>
                    <a:pt x="4475" y="7467"/>
                  </a:cubicBezTo>
                  <a:cubicBezTo>
                    <a:pt x="4475" y="7719"/>
                    <a:pt x="4506" y="7971"/>
                    <a:pt x="4538" y="8255"/>
                  </a:cubicBezTo>
                  <a:cubicBezTo>
                    <a:pt x="4317" y="8287"/>
                    <a:pt x="4033" y="8287"/>
                    <a:pt x="3781" y="8287"/>
                  </a:cubicBezTo>
                  <a:cubicBezTo>
                    <a:pt x="2269" y="8287"/>
                    <a:pt x="883" y="7656"/>
                    <a:pt x="883" y="7026"/>
                  </a:cubicBezTo>
                  <a:lnTo>
                    <a:pt x="883" y="5913"/>
                  </a:lnTo>
                  <a:close/>
                  <a:moveTo>
                    <a:pt x="851" y="8350"/>
                  </a:moveTo>
                  <a:cubicBezTo>
                    <a:pt x="1639" y="8917"/>
                    <a:pt x="2773" y="9106"/>
                    <a:pt x="3750" y="9106"/>
                  </a:cubicBezTo>
                  <a:cubicBezTo>
                    <a:pt x="4096" y="9106"/>
                    <a:pt x="4412" y="9074"/>
                    <a:pt x="4727" y="9043"/>
                  </a:cubicBezTo>
                  <a:cubicBezTo>
                    <a:pt x="4979" y="9547"/>
                    <a:pt x="5294" y="10019"/>
                    <a:pt x="5672" y="10397"/>
                  </a:cubicBezTo>
                  <a:cubicBezTo>
                    <a:pt x="5136" y="10649"/>
                    <a:pt x="4475" y="10775"/>
                    <a:pt x="3750" y="10775"/>
                  </a:cubicBezTo>
                  <a:cubicBezTo>
                    <a:pt x="2112" y="10775"/>
                    <a:pt x="851" y="10082"/>
                    <a:pt x="851" y="9547"/>
                  </a:cubicBezTo>
                  <a:lnTo>
                    <a:pt x="851" y="8350"/>
                  </a:lnTo>
                  <a:close/>
                  <a:moveTo>
                    <a:pt x="8570" y="4159"/>
                  </a:moveTo>
                  <a:cubicBezTo>
                    <a:pt x="10366" y="4159"/>
                    <a:pt x="11878" y="5640"/>
                    <a:pt x="11878" y="7467"/>
                  </a:cubicBezTo>
                  <a:cubicBezTo>
                    <a:pt x="11878" y="9263"/>
                    <a:pt x="10366" y="10775"/>
                    <a:pt x="8570" y="10775"/>
                  </a:cubicBezTo>
                  <a:cubicBezTo>
                    <a:pt x="6743" y="10775"/>
                    <a:pt x="5262" y="9263"/>
                    <a:pt x="5262" y="7467"/>
                  </a:cubicBezTo>
                  <a:cubicBezTo>
                    <a:pt x="5262" y="5609"/>
                    <a:pt x="6743" y="4159"/>
                    <a:pt x="8570" y="4159"/>
                  </a:cubicBezTo>
                  <a:close/>
                  <a:moveTo>
                    <a:pt x="3781" y="1"/>
                  </a:moveTo>
                  <a:cubicBezTo>
                    <a:pt x="1797" y="1"/>
                    <a:pt x="64" y="851"/>
                    <a:pt x="64" y="2112"/>
                  </a:cubicBezTo>
                  <a:lnTo>
                    <a:pt x="64" y="9547"/>
                  </a:lnTo>
                  <a:cubicBezTo>
                    <a:pt x="1" y="10082"/>
                    <a:pt x="442" y="10649"/>
                    <a:pt x="1230" y="11027"/>
                  </a:cubicBezTo>
                  <a:cubicBezTo>
                    <a:pt x="1891" y="11405"/>
                    <a:pt x="2805" y="11563"/>
                    <a:pt x="3750" y="11563"/>
                  </a:cubicBezTo>
                  <a:cubicBezTo>
                    <a:pt x="4790" y="11563"/>
                    <a:pt x="5735" y="11311"/>
                    <a:pt x="6428" y="10964"/>
                  </a:cubicBezTo>
                  <a:cubicBezTo>
                    <a:pt x="7058" y="11342"/>
                    <a:pt x="7814" y="11563"/>
                    <a:pt x="8602" y="11563"/>
                  </a:cubicBezTo>
                  <a:cubicBezTo>
                    <a:pt x="10870" y="11563"/>
                    <a:pt x="12729" y="9704"/>
                    <a:pt x="12729" y="7404"/>
                  </a:cubicBezTo>
                  <a:cubicBezTo>
                    <a:pt x="12729" y="5136"/>
                    <a:pt x="10870" y="3277"/>
                    <a:pt x="8602" y="3277"/>
                  </a:cubicBezTo>
                  <a:cubicBezTo>
                    <a:pt x="8192" y="3277"/>
                    <a:pt x="7846" y="3309"/>
                    <a:pt x="7499" y="3435"/>
                  </a:cubicBezTo>
                  <a:lnTo>
                    <a:pt x="7499" y="2049"/>
                  </a:lnTo>
                  <a:cubicBezTo>
                    <a:pt x="7499" y="1481"/>
                    <a:pt x="7058" y="914"/>
                    <a:pt x="6302" y="536"/>
                  </a:cubicBezTo>
                  <a:cubicBezTo>
                    <a:pt x="5640" y="158"/>
                    <a:pt x="4727" y="1"/>
                    <a:pt x="3781" y="1"/>
                  </a:cubicBezTo>
                  <a:close/>
                </a:path>
              </a:pathLst>
            </a:custGeom>
            <a:solidFill>
              <a:srgbClr val="78B0F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154;p36">
              <a:extLst>
                <a:ext uri="{FF2B5EF4-FFF2-40B4-BE49-F238E27FC236}">
                  <a16:creationId xmlns:a16="http://schemas.microsoft.com/office/drawing/2014/main" id="{FA5BA767-7E9A-D884-2A87-EB04B00B3B5F}"/>
                </a:ext>
              </a:extLst>
            </p:cNvPr>
            <p:cNvSpPr/>
            <p:nvPr/>
          </p:nvSpPr>
          <p:spPr>
            <a:xfrm>
              <a:off x="-62335475" y="2804325"/>
              <a:ext cx="62250" cy="146525"/>
            </a:xfrm>
            <a:custGeom>
              <a:avLst/>
              <a:gdLst/>
              <a:ahLst/>
              <a:cxnLst/>
              <a:rect l="l" t="t" r="r" b="b"/>
              <a:pathLst>
                <a:path w="2490" h="5861" extrusionOk="0">
                  <a:moveTo>
                    <a:pt x="1261" y="0"/>
                  </a:moveTo>
                  <a:cubicBezTo>
                    <a:pt x="1009" y="0"/>
                    <a:pt x="820" y="189"/>
                    <a:pt x="820" y="410"/>
                  </a:cubicBezTo>
                  <a:lnTo>
                    <a:pt x="820" y="694"/>
                  </a:lnTo>
                  <a:cubicBezTo>
                    <a:pt x="348" y="851"/>
                    <a:pt x="1" y="1324"/>
                    <a:pt x="1" y="1891"/>
                  </a:cubicBezTo>
                  <a:cubicBezTo>
                    <a:pt x="1" y="2552"/>
                    <a:pt x="537" y="2930"/>
                    <a:pt x="978" y="3245"/>
                  </a:cubicBezTo>
                  <a:cubicBezTo>
                    <a:pt x="1293" y="3497"/>
                    <a:pt x="1639" y="3718"/>
                    <a:pt x="1639" y="3970"/>
                  </a:cubicBezTo>
                  <a:cubicBezTo>
                    <a:pt x="1671" y="4254"/>
                    <a:pt x="1482" y="4411"/>
                    <a:pt x="1261" y="4411"/>
                  </a:cubicBezTo>
                  <a:cubicBezTo>
                    <a:pt x="1009" y="4411"/>
                    <a:pt x="820" y="4191"/>
                    <a:pt x="820" y="3970"/>
                  </a:cubicBezTo>
                  <a:cubicBezTo>
                    <a:pt x="820" y="3718"/>
                    <a:pt x="631" y="3529"/>
                    <a:pt x="411" y="3529"/>
                  </a:cubicBezTo>
                  <a:cubicBezTo>
                    <a:pt x="190" y="3529"/>
                    <a:pt x="1" y="3718"/>
                    <a:pt x="1" y="3970"/>
                  </a:cubicBezTo>
                  <a:cubicBezTo>
                    <a:pt x="1" y="4506"/>
                    <a:pt x="348" y="4947"/>
                    <a:pt x="820" y="5136"/>
                  </a:cubicBezTo>
                  <a:lnTo>
                    <a:pt x="820" y="5419"/>
                  </a:lnTo>
                  <a:cubicBezTo>
                    <a:pt x="820" y="5671"/>
                    <a:pt x="1009" y="5860"/>
                    <a:pt x="1261" y="5860"/>
                  </a:cubicBezTo>
                  <a:cubicBezTo>
                    <a:pt x="1482" y="5860"/>
                    <a:pt x="1639" y="5671"/>
                    <a:pt x="1639" y="5419"/>
                  </a:cubicBezTo>
                  <a:lnTo>
                    <a:pt x="1639" y="5136"/>
                  </a:lnTo>
                  <a:cubicBezTo>
                    <a:pt x="2112" y="4978"/>
                    <a:pt x="2458" y="4506"/>
                    <a:pt x="2458" y="3970"/>
                  </a:cubicBezTo>
                  <a:cubicBezTo>
                    <a:pt x="2458" y="3308"/>
                    <a:pt x="1923" y="2899"/>
                    <a:pt x="1482" y="2584"/>
                  </a:cubicBezTo>
                  <a:cubicBezTo>
                    <a:pt x="1167" y="2363"/>
                    <a:pt x="820" y="2111"/>
                    <a:pt x="820" y="1891"/>
                  </a:cubicBezTo>
                  <a:cubicBezTo>
                    <a:pt x="820" y="1639"/>
                    <a:pt x="1009" y="1450"/>
                    <a:pt x="1261" y="1450"/>
                  </a:cubicBezTo>
                  <a:cubicBezTo>
                    <a:pt x="1482" y="1450"/>
                    <a:pt x="1639" y="1639"/>
                    <a:pt x="1639" y="1891"/>
                  </a:cubicBezTo>
                  <a:cubicBezTo>
                    <a:pt x="1639" y="2111"/>
                    <a:pt x="1860" y="2300"/>
                    <a:pt x="2049" y="2300"/>
                  </a:cubicBezTo>
                  <a:cubicBezTo>
                    <a:pt x="2269" y="2300"/>
                    <a:pt x="2490" y="2111"/>
                    <a:pt x="2490" y="1891"/>
                  </a:cubicBezTo>
                  <a:cubicBezTo>
                    <a:pt x="2490" y="1324"/>
                    <a:pt x="2112" y="883"/>
                    <a:pt x="1639" y="694"/>
                  </a:cubicBezTo>
                  <a:lnTo>
                    <a:pt x="1639" y="410"/>
                  </a:lnTo>
                  <a:cubicBezTo>
                    <a:pt x="1639" y="189"/>
                    <a:pt x="1450" y="0"/>
                    <a:pt x="1261" y="0"/>
                  </a:cubicBezTo>
                  <a:close/>
                </a:path>
              </a:pathLst>
            </a:custGeom>
            <a:solidFill>
              <a:srgbClr val="78B0F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1155;p36">
            <a:extLst>
              <a:ext uri="{FF2B5EF4-FFF2-40B4-BE49-F238E27FC236}">
                <a16:creationId xmlns:a16="http://schemas.microsoft.com/office/drawing/2014/main" id="{94AE0B8B-7E17-E486-8647-7896AF9E0F97}"/>
              </a:ext>
            </a:extLst>
          </p:cNvPr>
          <p:cNvSpPr txBox="1"/>
          <p:nvPr/>
        </p:nvSpPr>
        <p:spPr>
          <a:xfrm>
            <a:off x="6290277" y="4709862"/>
            <a:ext cx="911400" cy="41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000" b="1" dirty="0">
              <a:solidFill>
                <a:srgbClr val="FFFFFF"/>
              </a:solidFill>
              <a:latin typeface="Fira Sans"/>
              <a:ea typeface="Fira Sans"/>
              <a:cs typeface="Fira Sans"/>
              <a:sym typeface="Fira Sans"/>
            </a:endParaRPr>
          </a:p>
        </p:txBody>
      </p:sp>
      <p:sp>
        <p:nvSpPr>
          <p:cNvPr id="36" name="Google Shape;1156;p36">
            <a:extLst>
              <a:ext uri="{FF2B5EF4-FFF2-40B4-BE49-F238E27FC236}">
                <a16:creationId xmlns:a16="http://schemas.microsoft.com/office/drawing/2014/main" id="{F8603FD7-9B36-EA5B-F5F9-A6344020FED7}"/>
              </a:ext>
            </a:extLst>
          </p:cNvPr>
          <p:cNvSpPr txBox="1"/>
          <p:nvPr/>
        </p:nvSpPr>
        <p:spPr>
          <a:xfrm>
            <a:off x="4979465" y="4479762"/>
            <a:ext cx="911400" cy="41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900" b="1" dirty="0">
                <a:solidFill>
                  <a:srgbClr val="FFFFFF"/>
                </a:solidFill>
                <a:latin typeface="Fira Sans"/>
                <a:ea typeface="Fira Sans"/>
                <a:cs typeface="Fira Sans"/>
                <a:sym typeface="Fira Sans"/>
              </a:rPr>
              <a:t>16%</a:t>
            </a:r>
            <a:endParaRPr sz="1900" b="1" dirty="0">
              <a:solidFill>
                <a:srgbClr val="FFFFFF"/>
              </a:solidFill>
              <a:latin typeface="Fira Sans"/>
              <a:ea typeface="Fira Sans"/>
              <a:cs typeface="Fira Sans"/>
              <a:sym typeface="Fira Sans"/>
            </a:endParaRPr>
          </a:p>
        </p:txBody>
      </p:sp>
      <p:sp>
        <p:nvSpPr>
          <p:cNvPr id="37" name="Google Shape;1157;p36">
            <a:extLst>
              <a:ext uri="{FF2B5EF4-FFF2-40B4-BE49-F238E27FC236}">
                <a16:creationId xmlns:a16="http://schemas.microsoft.com/office/drawing/2014/main" id="{129D2EE0-4E0E-7C9E-7D05-90251008BC69}"/>
              </a:ext>
            </a:extLst>
          </p:cNvPr>
          <p:cNvSpPr txBox="1"/>
          <p:nvPr/>
        </p:nvSpPr>
        <p:spPr>
          <a:xfrm>
            <a:off x="5785427" y="2853337"/>
            <a:ext cx="911400" cy="41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900" b="1" dirty="0">
                <a:solidFill>
                  <a:srgbClr val="FFFFFF"/>
                </a:solidFill>
                <a:latin typeface="Fira Sans"/>
                <a:ea typeface="Fira Sans"/>
                <a:cs typeface="Fira Sans"/>
                <a:sym typeface="Fira Sans"/>
              </a:rPr>
              <a:t>84%</a:t>
            </a:r>
            <a:endParaRPr sz="1900" b="1" dirty="0">
              <a:solidFill>
                <a:srgbClr val="FFFFFF"/>
              </a:solidFill>
              <a:latin typeface="Fira Sans"/>
              <a:ea typeface="Fira Sans"/>
              <a:cs typeface="Fira Sans"/>
              <a:sym typeface="Fira Sans"/>
            </a:endParaRPr>
          </a:p>
        </p:txBody>
      </p:sp>
      <p:sp>
        <p:nvSpPr>
          <p:cNvPr id="39" name="Rectangle 38">
            <a:extLst>
              <a:ext uri="{FF2B5EF4-FFF2-40B4-BE49-F238E27FC236}">
                <a16:creationId xmlns:a16="http://schemas.microsoft.com/office/drawing/2014/main" id="{AF96367C-3634-D6F5-6A72-D2004471BDF9}"/>
              </a:ext>
            </a:extLst>
          </p:cNvPr>
          <p:cNvSpPr/>
          <p:nvPr/>
        </p:nvSpPr>
        <p:spPr>
          <a:xfrm>
            <a:off x="2158376" y="3872624"/>
            <a:ext cx="1616981" cy="369332"/>
          </a:xfrm>
          <a:prstGeom prst="rect">
            <a:avLst/>
          </a:prstGeom>
        </p:spPr>
        <p:txBody>
          <a:bodyPr wrap="none">
            <a:spAutoFit/>
          </a:bodyPr>
          <a:lstStyle/>
          <a:p>
            <a:r>
              <a:rPr lang="en-US" dirty="0">
                <a:solidFill>
                  <a:schemeClr val="bg1"/>
                </a:solidFill>
              </a:rPr>
              <a:t>17 922,8 dinars</a:t>
            </a:r>
          </a:p>
        </p:txBody>
      </p:sp>
      <p:sp>
        <p:nvSpPr>
          <p:cNvPr id="40" name="Rectangle 39">
            <a:extLst>
              <a:ext uri="{FF2B5EF4-FFF2-40B4-BE49-F238E27FC236}">
                <a16:creationId xmlns:a16="http://schemas.microsoft.com/office/drawing/2014/main" id="{57EDB90F-6A61-EF92-F5FE-7F8C994A43AD}"/>
              </a:ext>
            </a:extLst>
          </p:cNvPr>
          <p:cNvSpPr/>
          <p:nvPr/>
        </p:nvSpPr>
        <p:spPr>
          <a:xfrm>
            <a:off x="5054438" y="4410994"/>
            <a:ext cx="184731" cy="369332"/>
          </a:xfrm>
          <a:prstGeom prst="rect">
            <a:avLst/>
          </a:prstGeom>
        </p:spPr>
        <p:txBody>
          <a:bodyPr wrap="none">
            <a:spAutoFit/>
          </a:bodyPr>
          <a:lstStyle/>
          <a:p>
            <a:endParaRPr lang="en-US" dirty="0"/>
          </a:p>
        </p:txBody>
      </p:sp>
      <p:sp>
        <p:nvSpPr>
          <p:cNvPr id="41" name="Rectangle 40">
            <a:extLst>
              <a:ext uri="{FF2B5EF4-FFF2-40B4-BE49-F238E27FC236}">
                <a16:creationId xmlns:a16="http://schemas.microsoft.com/office/drawing/2014/main" id="{E4653708-753C-DA12-5C64-9504CCDD0805}"/>
              </a:ext>
            </a:extLst>
          </p:cNvPr>
          <p:cNvSpPr/>
          <p:nvPr/>
        </p:nvSpPr>
        <p:spPr>
          <a:xfrm>
            <a:off x="8612573" y="3854761"/>
            <a:ext cx="1616981" cy="369332"/>
          </a:xfrm>
          <a:prstGeom prst="rect">
            <a:avLst/>
          </a:prstGeom>
        </p:spPr>
        <p:txBody>
          <a:bodyPr wrap="none">
            <a:spAutoFit/>
          </a:bodyPr>
          <a:lstStyle/>
          <a:p>
            <a:r>
              <a:rPr lang="en-US" dirty="0">
                <a:solidFill>
                  <a:schemeClr val="bg1"/>
                </a:solidFill>
              </a:rPr>
              <a:t>100 000 dinars</a:t>
            </a:r>
          </a:p>
        </p:txBody>
      </p:sp>
      <p:sp>
        <p:nvSpPr>
          <p:cNvPr id="2" name="Rectangle 1">
            <a:extLst>
              <a:ext uri="{FF2B5EF4-FFF2-40B4-BE49-F238E27FC236}">
                <a16:creationId xmlns:a16="http://schemas.microsoft.com/office/drawing/2014/main" id="{0F60A42F-70F3-4879-B7F6-1E37B0625B77}"/>
              </a:ext>
            </a:extLst>
          </p:cNvPr>
          <p:cNvSpPr/>
          <p:nvPr/>
        </p:nvSpPr>
        <p:spPr>
          <a:xfrm>
            <a:off x="11505128" y="6246559"/>
            <a:ext cx="601447" cy="584775"/>
          </a:xfrm>
          <a:prstGeom prst="rect">
            <a:avLst/>
          </a:prstGeom>
        </p:spPr>
        <p:txBody>
          <a:bodyPr wrap="none">
            <a:spAutoFit/>
          </a:bodyPr>
          <a:lstStyle/>
          <a:p>
            <a:r>
              <a:rPr lang="en-US"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27</a:t>
            </a:r>
            <a:endParaRPr lang="fr-TN" sz="3200" dirty="0"/>
          </a:p>
        </p:txBody>
      </p:sp>
    </p:spTree>
    <p:extLst>
      <p:ext uri="{BB962C8B-B14F-4D97-AF65-F5344CB8AC3E}">
        <p14:creationId xmlns:p14="http://schemas.microsoft.com/office/powerpoint/2010/main" val="408260434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86BBA8-580F-F17C-6DF5-AFA6D493A1C5}"/>
            </a:ext>
          </a:extLst>
        </p:cNvPr>
        <p:cNvGrpSpPr/>
        <p:nvPr/>
      </p:nvGrpSpPr>
      <p:grpSpPr>
        <a:xfrm>
          <a:off x="0" y="0"/>
          <a:ext cx="0" cy="0"/>
          <a:chOff x="0" y="0"/>
          <a:chExt cx="0" cy="0"/>
        </a:xfrm>
      </p:grpSpPr>
      <p:sp>
        <p:nvSpPr>
          <p:cNvPr id="16" name="TextBox 15">
            <a:extLst>
              <a:ext uri="{FF2B5EF4-FFF2-40B4-BE49-F238E27FC236}">
                <a16:creationId xmlns:a16="http://schemas.microsoft.com/office/drawing/2014/main" id="{DE785FB5-2F0D-9BEB-A239-BC8F07F992C9}"/>
              </a:ext>
            </a:extLst>
          </p:cNvPr>
          <p:cNvSpPr txBox="1"/>
          <p:nvPr/>
        </p:nvSpPr>
        <p:spPr>
          <a:xfrm>
            <a:off x="299484" y="408434"/>
            <a:ext cx="1394613"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lang="en-US" kern="0" dirty="0">
                <a:solidFill>
                  <a:prstClr val="white"/>
                </a:solidFill>
                <a:latin typeface="Darker Grotesque" pitchFamily="2" charset="0"/>
              </a:rPr>
              <a:t>P</a:t>
            </a:r>
            <a:r>
              <a:rPr kumimoji="0" lang="en-US" b="0" i="0" u="none" strike="noStrike" kern="0" cap="none" spc="0" normalizeH="0" baseline="0" noProof="0" dirty="0" err="1">
                <a:ln>
                  <a:noFill/>
                </a:ln>
                <a:solidFill>
                  <a:prstClr val="white"/>
                </a:solidFill>
                <a:effectLst/>
                <a:uLnTx/>
                <a:uFillTx/>
                <a:latin typeface="Darker Grotesque" pitchFamily="2" charset="0"/>
              </a:rPr>
              <a:t>roblématique</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sp>
        <p:nvSpPr>
          <p:cNvPr id="28" name="Rectangle 1">
            <a:extLst>
              <a:ext uri="{FF2B5EF4-FFF2-40B4-BE49-F238E27FC236}">
                <a16:creationId xmlns:a16="http://schemas.microsoft.com/office/drawing/2014/main" id="{8578377C-92D9-B24F-1461-4039C59CC568}"/>
              </a:ext>
            </a:extLst>
          </p:cNvPr>
          <p:cNvSpPr>
            <a:spLocks noChangeArrowheads="1"/>
          </p:cNvSpPr>
          <p:nvPr/>
        </p:nvSpPr>
        <p:spPr bwMode="auto">
          <a:xfrm>
            <a:off x="-66675" y="-68961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TN"/>
          </a:p>
        </p:txBody>
      </p:sp>
      <p:grpSp>
        <p:nvGrpSpPr>
          <p:cNvPr id="41" name="Group 40">
            <a:extLst>
              <a:ext uri="{FF2B5EF4-FFF2-40B4-BE49-F238E27FC236}">
                <a16:creationId xmlns:a16="http://schemas.microsoft.com/office/drawing/2014/main" id="{5B4C082E-D194-F29F-3F37-BE7CAC222D48}"/>
              </a:ext>
            </a:extLst>
          </p:cNvPr>
          <p:cNvGrpSpPr/>
          <p:nvPr/>
        </p:nvGrpSpPr>
        <p:grpSpPr>
          <a:xfrm>
            <a:off x="366159" y="427136"/>
            <a:ext cx="11644423" cy="507586"/>
            <a:chOff x="299484" y="369986"/>
            <a:chExt cx="11644423" cy="507586"/>
          </a:xfrm>
        </p:grpSpPr>
        <p:cxnSp>
          <p:nvCxnSpPr>
            <p:cNvPr id="42" name="Straight Connector 41">
              <a:extLst>
                <a:ext uri="{FF2B5EF4-FFF2-40B4-BE49-F238E27FC236}">
                  <a16:creationId xmlns:a16="http://schemas.microsoft.com/office/drawing/2014/main" id="{5EF0C4D0-F8C4-DBB4-AB91-B89F7E153A36}"/>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43" name="!!mission">
              <a:extLst>
                <a:ext uri="{FF2B5EF4-FFF2-40B4-BE49-F238E27FC236}">
                  <a16:creationId xmlns:a16="http://schemas.microsoft.com/office/drawing/2014/main" id="{537A9F39-A8A4-9FA7-6FD2-C26107EB37F1}"/>
                </a:ext>
              </a:extLst>
            </p:cNvPr>
            <p:cNvGrpSpPr/>
            <p:nvPr/>
          </p:nvGrpSpPr>
          <p:grpSpPr>
            <a:xfrm>
              <a:off x="5842207" y="369986"/>
              <a:ext cx="507586" cy="507586"/>
              <a:chOff x="1700837" y="1711757"/>
              <a:chExt cx="507586" cy="507586"/>
            </a:xfrm>
          </p:grpSpPr>
          <p:sp>
            <p:nvSpPr>
              <p:cNvPr id="44" name="Oval 43">
                <a:extLst>
                  <a:ext uri="{FF2B5EF4-FFF2-40B4-BE49-F238E27FC236}">
                    <a16:creationId xmlns:a16="http://schemas.microsoft.com/office/drawing/2014/main" id="{8C323B1D-CEC5-E8CF-79DF-0C23CA57B7C4}"/>
                  </a:ext>
                </a:extLst>
              </p:cNvPr>
              <p:cNvSpPr/>
              <p:nvPr/>
            </p:nvSpPr>
            <p:spPr>
              <a:xfrm>
                <a:off x="1700837" y="1711757"/>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45" name="Graphic 44">
                <a:extLst>
                  <a:ext uri="{FF2B5EF4-FFF2-40B4-BE49-F238E27FC236}">
                    <a16:creationId xmlns:a16="http://schemas.microsoft.com/office/drawing/2014/main" id="{C4214873-8BD9-2359-F94C-96D434EFFC20}"/>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828630" y="1839550"/>
                <a:ext cx="252000" cy="252000"/>
              </a:xfrm>
              <a:prstGeom prst="rect">
                <a:avLst/>
              </a:prstGeom>
            </p:spPr>
          </p:pic>
        </p:grpSp>
      </p:grpSp>
      <p:sp>
        <p:nvSpPr>
          <p:cNvPr id="74" name="Title 1">
            <a:extLst>
              <a:ext uri="{FF2B5EF4-FFF2-40B4-BE49-F238E27FC236}">
                <a16:creationId xmlns:a16="http://schemas.microsoft.com/office/drawing/2014/main" id="{F81833D3-A49F-532D-DB87-6E46F4270455}"/>
              </a:ext>
            </a:extLst>
          </p:cNvPr>
          <p:cNvSpPr txBox="1">
            <a:spLocks/>
          </p:cNvSpPr>
          <p:nvPr/>
        </p:nvSpPr>
        <p:spPr>
          <a:xfrm>
            <a:off x="838200" y="163481"/>
            <a:ext cx="11353800" cy="73905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dirty="0"/>
          </a:p>
        </p:txBody>
      </p:sp>
      <p:sp>
        <p:nvSpPr>
          <p:cNvPr id="106" name="TextBox 33">
            <a:extLst>
              <a:ext uri="{FF2B5EF4-FFF2-40B4-BE49-F238E27FC236}">
                <a16:creationId xmlns:a16="http://schemas.microsoft.com/office/drawing/2014/main" id="{D12948EA-810B-0128-90C1-2C6F057F8592}"/>
              </a:ext>
            </a:extLst>
          </p:cNvPr>
          <p:cNvSpPr txBox="1"/>
          <p:nvPr/>
        </p:nvSpPr>
        <p:spPr>
          <a:xfrm>
            <a:off x="9117877" y="4365131"/>
            <a:ext cx="2926080" cy="461665"/>
          </a:xfrm>
          <a:prstGeom prst="rect">
            <a:avLst/>
          </a:prstGeom>
          <a:noFill/>
        </p:spPr>
        <p:txBody>
          <a:bodyPr wrap="square" lIns="0" rIns="0" rtlCol="0" anchor="b">
            <a:spAutoFit/>
          </a:bodyPr>
          <a:lstStyle/>
          <a:p>
            <a:endParaRPr lang="en-US" sz="2400" b="1" noProof="1">
              <a:solidFill>
                <a:schemeClr val="accent3">
                  <a:lumMod val="50000"/>
                </a:schemeClr>
              </a:solidFill>
            </a:endParaRPr>
          </a:p>
        </p:txBody>
      </p:sp>
      <p:sp>
        <p:nvSpPr>
          <p:cNvPr id="120" name="Title 1">
            <a:extLst>
              <a:ext uri="{FF2B5EF4-FFF2-40B4-BE49-F238E27FC236}">
                <a16:creationId xmlns:a16="http://schemas.microsoft.com/office/drawing/2014/main" id="{156DD2C4-1892-19CB-DEDB-B594B76B2686}"/>
              </a:ext>
            </a:extLst>
          </p:cNvPr>
          <p:cNvSpPr>
            <a:spLocks noGrp="1"/>
          </p:cNvSpPr>
          <p:nvPr/>
        </p:nvSpPr>
        <p:spPr>
          <a:xfrm>
            <a:off x="561689" y="682074"/>
            <a:ext cx="11353800" cy="739056"/>
          </a:xfrm>
          <a:prstGeom prst="rect">
            <a:avLst/>
          </a:prstGeom>
        </p:spPr>
        <p:txBody>
          <a:bodyPr rIns="0">
            <a:normAutofit/>
          </a:bodyPr>
          <a:lstStyle>
            <a:lvl1pPr algn="l" defTabSz="914400" rtl="0" eaLnBrk="1" latinLnBrk="0" hangingPunct="1">
              <a:lnSpc>
                <a:spcPct val="90000"/>
              </a:lnSpc>
              <a:spcBef>
                <a:spcPct val="0"/>
              </a:spcBef>
              <a:buNone/>
              <a:defRPr lang="en-US" sz="3600" b="1" kern="1200">
                <a:solidFill>
                  <a:schemeClr val="tx1"/>
                </a:solidFill>
                <a:latin typeface="Helvetica" panose="020B0500000000000000" pitchFamily="34" charset="0"/>
                <a:ea typeface="+mj-ea"/>
                <a:cs typeface="+mj-cs"/>
              </a:defRPr>
            </a:lvl1pPr>
          </a:lstStyle>
          <a:p>
            <a:endParaRPr lang="en-US" dirty="0"/>
          </a:p>
        </p:txBody>
      </p:sp>
      <p:sp>
        <p:nvSpPr>
          <p:cNvPr id="121" name="Freeform 25">
            <a:extLst>
              <a:ext uri="{FF2B5EF4-FFF2-40B4-BE49-F238E27FC236}">
                <a16:creationId xmlns:a16="http://schemas.microsoft.com/office/drawing/2014/main" id="{C916B99B-9AC6-03DE-5B18-1C24E3CCEF98}"/>
              </a:ext>
            </a:extLst>
          </p:cNvPr>
          <p:cNvSpPr/>
          <p:nvPr/>
        </p:nvSpPr>
        <p:spPr>
          <a:xfrm>
            <a:off x="4088929" y="2723453"/>
            <a:ext cx="1447893" cy="1847450"/>
          </a:xfrm>
          <a:custGeom>
            <a:avLst/>
            <a:gdLst>
              <a:gd name="connsiteX0" fmla="*/ 116797 w 116797"/>
              <a:gd name="connsiteY0" fmla="*/ 149028 h 149028"/>
              <a:gd name="connsiteX1" fmla="*/ 1548 w 116797"/>
              <a:gd name="connsiteY1" fmla="*/ 41809 h 149028"/>
              <a:gd name="connsiteX2" fmla="*/ 32550 w 116797"/>
              <a:gd name="connsiteY2" fmla="*/ 0 h 149028"/>
              <a:gd name="connsiteX3" fmla="*/ 44008 w 116797"/>
              <a:gd name="connsiteY3" fmla="*/ 0 h 149028"/>
              <a:gd name="connsiteX4" fmla="*/ 76359 w 116797"/>
              <a:gd name="connsiteY4" fmla="*/ 33042 h 149028"/>
              <a:gd name="connsiteX5" fmla="*/ 116123 w 116797"/>
              <a:gd name="connsiteY5" fmla="*/ 149028 h 14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97" h="149028">
                <a:moveTo>
                  <a:pt x="116797" y="149028"/>
                </a:moveTo>
                <a:cubicBezTo>
                  <a:pt x="116797" y="149028"/>
                  <a:pt x="28507" y="129473"/>
                  <a:pt x="1548" y="41809"/>
                </a:cubicBezTo>
                <a:cubicBezTo>
                  <a:pt x="-5192" y="20904"/>
                  <a:pt x="10983" y="0"/>
                  <a:pt x="32550" y="0"/>
                </a:cubicBezTo>
                <a:lnTo>
                  <a:pt x="44008" y="0"/>
                </a:lnTo>
                <a:cubicBezTo>
                  <a:pt x="62205" y="0"/>
                  <a:pt x="77033" y="14835"/>
                  <a:pt x="76359" y="33042"/>
                </a:cubicBezTo>
                <a:cubicBezTo>
                  <a:pt x="76359" y="63388"/>
                  <a:pt x="81750" y="109917"/>
                  <a:pt x="116123" y="149028"/>
                </a:cubicBezTo>
                <a:close/>
              </a:path>
            </a:pathLst>
          </a:custGeom>
          <a:solidFill>
            <a:srgbClr val="805AAB"/>
          </a:solidFill>
          <a:ln w="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22" name="Freeform 26">
            <a:extLst>
              <a:ext uri="{FF2B5EF4-FFF2-40B4-BE49-F238E27FC236}">
                <a16:creationId xmlns:a16="http://schemas.microsoft.com/office/drawing/2014/main" id="{7F5ADA71-6EEF-4C70-2861-5B3F69855DBF}"/>
              </a:ext>
            </a:extLst>
          </p:cNvPr>
          <p:cNvSpPr/>
          <p:nvPr/>
        </p:nvSpPr>
        <p:spPr>
          <a:xfrm>
            <a:off x="5215228" y="1920695"/>
            <a:ext cx="1148700" cy="2123549"/>
          </a:xfrm>
          <a:custGeom>
            <a:avLst/>
            <a:gdLst>
              <a:gd name="connsiteX0" fmla="*/ 80533 w 92662"/>
              <a:gd name="connsiteY0" fmla="*/ 67453 h 171300"/>
              <a:gd name="connsiteX1" fmla="*/ 15158 w 92662"/>
              <a:gd name="connsiteY1" fmla="*/ 171301 h 171300"/>
              <a:gd name="connsiteX2" fmla="*/ 25942 w 92662"/>
              <a:gd name="connsiteY2" fmla="*/ 14181 h 171300"/>
              <a:gd name="connsiteX3" fmla="*/ 77837 w 92662"/>
              <a:gd name="connsiteY3" fmla="*/ 12157 h 171300"/>
              <a:gd name="connsiteX4" fmla="*/ 85251 w 92662"/>
              <a:gd name="connsiteY4" fmla="*/ 20924 h 171300"/>
              <a:gd name="connsiteX5" fmla="*/ 80533 w 92662"/>
              <a:gd name="connsiteY5" fmla="*/ 66779 h 17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662" h="171300">
                <a:moveTo>
                  <a:pt x="80533" y="67453"/>
                </a:moveTo>
                <a:cubicBezTo>
                  <a:pt x="56270" y="86334"/>
                  <a:pt x="23920" y="120051"/>
                  <a:pt x="15158" y="171301"/>
                </a:cubicBezTo>
                <a:cubicBezTo>
                  <a:pt x="15158" y="171301"/>
                  <a:pt x="-25280" y="90381"/>
                  <a:pt x="25942" y="14181"/>
                </a:cubicBezTo>
                <a:cubicBezTo>
                  <a:pt x="38073" y="-4027"/>
                  <a:pt x="64358" y="-4701"/>
                  <a:pt x="77837" y="12157"/>
                </a:cubicBezTo>
                <a:lnTo>
                  <a:pt x="85251" y="20924"/>
                </a:lnTo>
                <a:cubicBezTo>
                  <a:pt x="96709" y="35085"/>
                  <a:pt x="94687" y="55989"/>
                  <a:pt x="80533" y="66779"/>
                </a:cubicBezTo>
                <a:close/>
              </a:path>
            </a:pathLst>
          </a:custGeom>
          <a:solidFill>
            <a:schemeClr val="accent2"/>
          </a:solidFill>
          <a:ln w="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23" name="Freeform 27">
            <a:extLst>
              <a:ext uri="{FF2B5EF4-FFF2-40B4-BE49-F238E27FC236}">
                <a16:creationId xmlns:a16="http://schemas.microsoft.com/office/drawing/2014/main" id="{5AAC0385-6CF6-3B89-B414-F41F6BD20023}"/>
              </a:ext>
            </a:extLst>
          </p:cNvPr>
          <p:cNvSpPr/>
          <p:nvPr/>
        </p:nvSpPr>
        <p:spPr>
          <a:xfrm>
            <a:off x="5678851" y="2470933"/>
            <a:ext cx="2031789" cy="1113555"/>
          </a:xfrm>
          <a:custGeom>
            <a:avLst/>
            <a:gdLst>
              <a:gd name="connsiteX0" fmla="*/ 163775 w 163899"/>
              <a:gd name="connsiteY0" fmla="*/ 39251 h 89826"/>
              <a:gd name="connsiteX1" fmla="*/ 161080 w 163899"/>
              <a:gd name="connsiteY1" fmla="*/ 50715 h 89826"/>
              <a:gd name="connsiteX2" fmla="*/ 121989 w 163899"/>
              <a:gd name="connsiteY2" fmla="*/ 75666 h 89826"/>
              <a:gd name="connsiteX3" fmla="*/ 0 w 163899"/>
              <a:gd name="connsiteY3" fmla="*/ 89827 h 89826"/>
              <a:gd name="connsiteX4" fmla="*/ 129403 w 163899"/>
              <a:gd name="connsiteY4" fmla="*/ 140 h 89826"/>
              <a:gd name="connsiteX5" fmla="*/ 163101 w 163899"/>
              <a:gd name="connsiteY5" fmla="*/ 39926 h 89826"/>
              <a:gd name="connsiteX0" fmla="*/ 161080 w 171151"/>
              <a:gd name="connsiteY0" fmla="*/ 50715 h 89827"/>
              <a:gd name="connsiteX1" fmla="*/ 121989 w 171151"/>
              <a:gd name="connsiteY1" fmla="*/ 75666 h 89827"/>
              <a:gd name="connsiteX2" fmla="*/ 0 w 171151"/>
              <a:gd name="connsiteY2" fmla="*/ 89827 h 89827"/>
              <a:gd name="connsiteX3" fmla="*/ 129403 w 171151"/>
              <a:gd name="connsiteY3" fmla="*/ 140 h 89827"/>
              <a:gd name="connsiteX4" fmla="*/ 163101 w 171151"/>
              <a:gd name="connsiteY4" fmla="*/ 39926 h 89827"/>
              <a:gd name="connsiteX5" fmla="*/ 171151 w 171151"/>
              <a:gd name="connsiteY5" fmla="*/ 46627 h 89827"/>
              <a:gd name="connsiteX0" fmla="*/ 161080 w 163898"/>
              <a:gd name="connsiteY0" fmla="*/ 50715 h 89827"/>
              <a:gd name="connsiteX1" fmla="*/ 121989 w 163898"/>
              <a:gd name="connsiteY1" fmla="*/ 75666 h 89827"/>
              <a:gd name="connsiteX2" fmla="*/ 0 w 163898"/>
              <a:gd name="connsiteY2" fmla="*/ 89827 h 89827"/>
              <a:gd name="connsiteX3" fmla="*/ 129403 w 163898"/>
              <a:gd name="connsiteY3" fmla="*/ 140 h 89827"/>
              <a:gd name="connsiteX4" fmla="*/ 163101 w 163898"/>
              <a:gd name="connsiteY4" fmla="*/ 39926 h 89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98" h="89827">
                <a:moveTo>
                  <a:pt x="161080" y="50715"/>
                </a:moveTo>
                <a:cubicBezTo>
                  <a:pt x="157036" y="68248"/>
                  <a:pt x="139512" y="79712"/>
                  <a:pt x="121989" y="75666"/>
                </a:cubicBezTo>
                <a:cubicBezTo>
                  <a:pt x="92334" y="68248"/>
                  <a:pt x="45830" y="64202"/>
                  <a:pt x="0" y="89827"/>
                </a:cubicBezTo>
                <a:cubicBezTo>
                  <a:pt x="0" y="89827"/>
                  <a:pt x="37743" y="8232"/>
                  <a:pt x="129403" y="140"/>
                </a:cubicBezTo>
                <a:cubicBezTo>
                  <a:pt x="150970" y="-1883"/>
                  <a:pt x="167819" y="18347"/>
                  <a:pt x="163101" y="39926"/>
                </a:cubicBezTo>
              </a:path>
            </a:pathLst>
          </a:custGeom>
          <a:solidFill>
            <a:schemeClr val="accent4"/>
          </a:solidFill>
          <a:ln w="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24" name="Freeform 28">
            <a:extLst>
              <a:ext uri="{FF2B5EF4-FFF2-40B4-BE49-F238E27FC236}">
                <a16:creationId xmlns:a16="http://schemas.microsoft.com/office/drawing/2014/main" id="{557D2DD6-AECB-97E6-F714-1C1643BC9550}"/>
              </a:ext>
            </a:extLst>
          </p:cNvPr>
          <p:cNvSpPr/>
          <p:nvPr/>
        </p:nvSpPr>
        <p:spPr>
          <a:xfrm>
            <a:off x="6238647" y="3485340"/>
            <a:ext cx="1965541" cy="1363732"/>
          </a:xfrm>
          <a:custGeom>
            <a:avLst/>
            <a:gdLst>
              <a:gd name="connsiteX0" fmla="*/ 140186 w 158554"/>
              <a:gd name="connsiteY0" fmla="*/ 102404 h 110008"/>
              <a:gd name="connsiteX1" fmla="*/ 129403 w 158554"/>
              <a:gd name="connsiteY1" fmla="*/ 107124 h 110008"/>
              <a:gd name="connsiteX2" fmla="*/ 85595 w 158554"/>
              <a:gd name="connsiteY2" fmla="*/ 90940 h 110008"/>
              <a:gd name="connsiteX3" fmla="*/ 0 w 158554"/>
              <a:gd name="connsiteY3" fmla="*/ 2602 h 110008"/>
              <a:gd name="connsiteX4" fmla="*/ 150296 w 158554"/>
              <a:gd name="connsiteY4" fmla="*/ 51154 h 110008"/>
              <a:gd name="connsiteX5" fmla="*/ 139512 w 158554"/>
              <a:gd name="connsiteY5" fmla="*/ 102404 h 11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554" h="110008">
                <a:moveTo>
                  <a:pt x="140186" y="102404"/>
                </a:moveTo>
                <a:lnTo>
                  <a:pt x="129403" y="107124"/>
                </a:lnTo>
                <a:cubicBezTo>
                  <a:pt x="113227" y="114542"/>
                  <a:pt x="93008" y="107124"/>
                  <a:pt x="85595" y="90940"/>
                </a:cubicBezTo>
                <a:cubicBezTo>
                  <a:pt x="73463" y="63292"/>
                  <a:pt x="47852" y="23507"/>
                  <a:pt x="0" y="2602"/>
                </a:cubicBezTo>
                <a:cubicBezTo>
                  <a:pt x="0" y="2602"/>
                  <a:pt x="88290" y="-16954"/>
                  <a:pt x="150296" y="51154"/>
                </a:cubicBezTo>
                <a:cubicBezTo>
                  <a:pt x="165123" y="67338"/>
                  <a:pt x="159057" y="92963"/>
                  <a:pt x="139512" y="102404"/>
                </a:cubicBezTo>
                <a:close/>
              </a:path>
            </a:pathLst>
          </a:custGeom>
          <a:solidFill>
            <a:schemeClr val="accent5"/>
          </a:solidFill>
          <a:ln w="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25" name="Freeform 29">
            <a:extLst>
              <a:ext uri="{FF2B5EF4-FFF2-40B4-BE49-F238E27FC236}">
                <a16:creationId xmlns:a16="http://schemas.microsoft.com/office/drawing/2014/main" id="{4AA02970-3DF9-3D18-958B-F4E230DF1E0B}"/>
              </a:ext>
            </a:extLst>
          </p:cNvPr>
          <p:cNvSpPr/>
          <p:nvPr/>
        </p:nvSpPr>
        <p:spPr>
          <a:xfrm>
            <a:off x="6379969" y="3935575"/>
            <a:ext cx="951308" cy="2164644"/>
          </a:xfrm>
          <a:custGeom>
            <a:avLst/>
            <a:gdLst>
              <a:gd name="connsiteX0" fmla="*/ 74868 w 76739"/>
              <a:gd name="connsiteY0" fmla="*/ 147680 h 174615"/>
              <a:gd name="connsiteX1" fmla="*/ 28364 w 76739"/>
              <a:gd name="connsiteY1" fmla="*/ 171281 h 174615"/>
              <a:gd name="connsiteX2" fmla="*/ 18254 w 76739"/>
              <a:gd name="connsiteY2" fmla="*/ 165887 h 174615"/>
              <a:gd name="connsiteX3" fmla="*/ 3427 w 76739"/>
              <a:gd name="connsiteY3" fmla="*/ 122055 h 174615"/>
              <a:gd name="connsiteX4" fmla="*/ 18254 w 76739"/>
              <a:gd name="connsiteY4" fmla="*/ 0 h 174615"/>
              <a:gd name="connsiteX5" fmla="*/ 74868 w 76739"/>
              <a:gd name="connsiteY5" fmla="*/ 147005 h 174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739" h="174615">
                <a:moveTo>
                  <a:pt x="74868" y="147680"/>
                </a:moveTo>
                <a:cubicBezTo>
                  <a:pt x="71498" y="169258"/>
                  <a:pt x="47909" y="180722"/>
                  <a:pt x="28364" y="171281"/>
                </a:cubicBezTo>
                <a:lnTo>
                  <a:pt x="18254" y="165887"/>
                </a:lnTo>
                <a:cubicBezTo>
                  <a:pt x="2079" y="157795"/>
                  <a:pt x="-4661" y="138239"/>
                  <a:pt x="3427" y="122055"/>
                </a:cubicBezTo>
                <a:cubicBezTo>
                  <a:pt x="17580" y="95081"/>
                  <a:pt x="32408" y="50575"/>
                  <a:pt x="18254" y="0"/>
                </a:cubicBezTo>
                <a:cubicBezTo>
                  <a:pt x="18254" y="0"/>
                  <a:pt x="89022" y="55970"/>
                  <a:pt x="74868" y="147005"/>
                </a:cubicBezTo>
                <a:close/>
              </a:path>
            </a:pathLst>
          </a:custGeom>
          <a:solidFill>
            <a:schemeClr val="accent3"/>
          </a:solidFill>
          <a:ln w="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6" name="Freeform 30">
            <a:extLst>
              <a:ext uri="{FF2B5EF4-FFF2-40B4-BE49-F238E27FC236}">
                <a16:creationId xmlns:a16="http://schemas.microsoft.com/office/drawing/2014/main" id="{640C5EE1-6BC8-1202-15FF-7B26BC856849}"/>
              </a:ext>
            </a:extLst>
          </p:cNvPr>
          <p:cNvSpPr/>
          <p:nvPr/>
        </p:nvSpPr>
        <p:spPr>
          <a:xfrm>
            <a:off x="3892876" y="4141161"/>
            <a:ext cx="2187007" cy="1031514"/>
          </a:xfrm>
          <a:custGeom>
            <a:avLst/>
            <a:gdLst>
              <a:gd name="connsiteX0" fmla="*/ 175746 w 176419"/>
              <a:gd name="connsiteY0" fmla="*/ 52199 h 83209"/>
              <a:gd name="connsiteX1" fmla="*/ 19384 w 176419"/>
              <a:gd name="connsiteY1" fmla="*/ 71080 h 83209"/>
              <a:gd name="connsiteX2" fmla="*/ 7927 w 176419"/>
              <a:gd name="connsiteY2" fmla="*/ 20505 h 83209"/>
              <a:gd name="connsiteX3" fmla="*/ 15341 w 176419"/>
              <a:gd name="connsiteY3" fmla="*/ 11739 h 83209"/>
              <a:gd name="connsiteX4" fmla="*/ 61845 w 176419"/>
              <a:gd name="connsiteY4" fmla="*/ 7693 h 83209"/>
              <a:gd name="connsiteX5" fmla="*/ 176420 w 176419"/>
              <a:gd name="connsiteY5" fmla="*/ 52199 h 8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419" h="83209">
                <a:moveTo>
                  <a:pt x="175746" y="52199"/>
                </a:moveTo>
                <a:cubicBezTo>
                  <a:pt x="175746" y="52199"/>
                  <a:pt x="104305" y="106820"/>
                  <a:pt x="19384" y="71080"/>
                </a:cubicBezTo>
                <a:cubicBezTo>
                  <a:pt x="-835" y="62314"/>
                  <a:pt x="-6227" y="36689"/>
                  <a:pt x="7927" y="20505"/>
                </a:cubicBezTo>
                <a:lnTo>
                  <a:pt x="15341" y="11739"/>
                </a:lnTo>
                <a:cubicBezTo>
                  <a:pt x="26798" y="-2422"/>
                  <a:pt x="47691" y="-3771"/>
                  <a:pt x="61845" y="7693"/>
                </a:cubicBezTo>
                <a:cubicBezTo>
                  <a:pt x="84760" y="27923"/>
                  <a:pt x="124524" y="53548"/>
                  <a:pt x="176420" y="52199"/>
                </a:cubicBezTo>
                <a:close/>
              </a:path>
            </a:pathLst>
          </a:custGeom>
          <a:solidFill>
            <a:schemeClr val="accent6"/>
          </a:solidFill>
          <a:ln w="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27" name="Freeform 42">
            <a:extLst>
              <a:ext uri="{FF2B5EF4-FFF2-40B4-BE49-F238E27FC236}">
                <a16:creationId xmlns:a16="http://schemas.microsoft.com/office/drawing/2014/main" id="{F3C51093-EF10-D889-C0F7-1D9B0382437A}"/>
              </a:ext>
            </a:extLst>
          </p:cNvPr>
          <p:cNvSpPr/>
          <p:nvPr/>
        </p:nvSpPr>
        <p:spPr>
          <a:xfrm>
            <a:off x="4933526" y="4478945"/>
            <a:ext cx="1614244" cy="1741087"/>
          </a:xfrm>
          <a:custGeom>
            <a:avLst/>
            <a:gdLst>
              <a:gd name="connsiteX0" fmla="*/ 130216 w 130216"/>
              <a:gd name="connsiteY0" fmla="*/ 0 h 140448"/>
              <a:gd name="connsiteX1" fmla="*/ 50687 w 130216"/>
              <a:gd name="connsiteY1" fmla="*/ 136216 h 140448"/>
              <a:gd name="connsiteX2" fmla="*/ 3509 w 130216"/>
              <a:gd name="connsiteY2" fmla="*/ 114637 h 140448"/>
              <a:gd name="connsiteX3" fmla="*/ 813 w 130216"/>
              <a:gd name="connsiteY3" fmla="*/ 103173 h 140448"/>
              <a:gd name="connsiteX4" fmla="*/ 25750 w 130216"/>
              <a:gd name="connsiteY4" fmla="*/ 64062 h 140448"/>
              <a:gd name="connsiteX5" fmla="*/ 130216 w 130216"/>
              <a:gd name="connsiteY5" fmla="*/ 0 h 140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216" h="140448">
                <a:moveTo>
                  <a:pt x="130216" y="0"/>
                </a:moveTo>
                <a:cubicBezTo>
                  <a:pt x="130216" y="0"/>
                  <a:pt x="130216" y="90361"/>
                  <a:pt x="50687" y="136216"/>
                </a:cubicBezTo>
                <a:cubicBezTo>
                  <a:pt x="31816" y="147005"/>
                  <a:pt x="8227" y="136216"/>
                  <a:pt x="3509" y="114637"/>
                </a:cubicBezTo>
                <a:lnTo>
                  <a:pt x="813" y="103173"/>
                </a:lnTo>
                <a:cubicBezTo>
                  <a:pt x="-3230" y="85641"/>
                  <a:pt x="8227" y="67434"/>
                  <a:pt x="25750" y="64062"/>
                </a:cubicBezTo>
                <a:cubicBezTo>
                  <a:pt x="55405" y="57993"/>
                  <a:pt x="99887" y="41809"/>
                  <a:pt x="130216" y="0"/>
                </a:cubicBezTo>
                <a:close/>
              </a:path>
            </a:pathLst>
          </a:custGeom>
          <a:solidFill>
            <a:schemeClr val="accent1"/>
          </a:solidFill>
          <a:ln w="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8" name="Freeform 52">
            <a:extLst>
              <a:ext uri="{FF2B5EF4-FFF2-40B4-BE49-F238E27FC236}">
                <a16:creationId xmlns:a16="http://schemas.microsoft.com/office/drawing/2014/main" id="{02D9A042-AF92-8A35-74DC-D7E1CAFE42A9}"/>
              </a:ext>
            </a:extLst>
          </p:cNvPr>
          <p:cNvSpPr/>
          <p:nvPr/>
        </p:nvSpPr>
        <p:spPr>
          <a:xfrm>
            <a:off x="6649209" y="5082868"/>
            <a:ext cx="7797" cy="15602"/>
          </a:xfrm>
          <a:custGeom>
            <a:avLst/>
            <a:gdLst>
              <a:gd name="connsiteX0" fmla="*/ 0 w 869"/>
              <a:gd name="connsiteY0" fmla="*/ 0 h 1739"/>
              <a:gd name="connsiteX1" fmla="*/ 869 w 869"/>
              <a:gd name="connsiteY1" fmla="*/ 1739 h 1739"/>
              <a:gd name="connsiteX2" fmla="*/ 0 w 869"/>
              <a:gd name="connsiteY2" fmla="*/ 0 h 1739"/>
            </a:gdLst>
            <a:ahLst/>
            <a:cxnLst>
              <a:cxn ang="0">
                <a:pos x="connsiteX0" y="connsiteY0"/>
              </a:cxn>
              <a:cxn ang="0">
                <a:pos x="connsiteX1" y="connsiteY1"/>
              </a:cxn>
              <a:cxn ang="0">
                <a:pos x="connsiteX2" y="connsiteY2"/>
              </a:cxn>
            </a:cxnLst>
            <a:rect l="l" t="t" r="r" b="b"/>
            <a:pathLst>
              <a:path w="869" h="1739">
                <a:moveTo>
                  <a:pt x="0" y="0"/>
                </a:moveTo>
                <a:cubicBezTo>
                  <a:pt x="0" y="580"/>
                  <a:pt x="580" y="1159"/>
                  <a:pt x="869" y="1739"/>
                </a:cubicBezTo>
                <a:cubicBezTo>
                  <a:pt x="869" y="1159"/>
                  <a:pt x="290" y="580"/>
                  <a:pt x="0" y="0"/>
                </a:cubicBezTo>
                <a:close/>
              </a:path>
            </a:pathLst>
          </a:custGeom>
          <a:solidFill>
            <a:srgbClr val="FFFFFF"/>
          </a:solidFill>
          <a:ln w="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129" name="Graphic 53" descr="Brainstorm with solid fill">
            <a:extLst>
              <a:ext uri="{FF2B5EF4-FFF2-40B4-BE49-F238E27FC236}">
                <a16:creationId xmlns:a16="http://schemas.microsoft.com/office/drawing/2014/main" id="{1071369B-4AA3-8E5D-6747-0134AE53F87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258" y="3931904"/>
            <a:ext cx="676104" cy="676104"/>
          </a:xfrm>
          <a:prstGeom prst="rect">
            <a:avLst/>
          </a:prstGeom>
        </p:spPr>
      </p:pic>
      <p:pic>
        <p:nvPicPr>
          <p:cNvPr id="131" name="Graphic 55" descr="Hourglass 30% with solid fill">
            <a:extLst>
              <a:ext uri="{FF2B5EF4-FFF2-40B4-BE49-F238E27FC236}">
                <a16:creationId xmlns:a16="http://schemas.microsoft.com/office/drawing/2014/main" id="{E809A3D0-E412-9E23-C2B5-64E8DEA4C3E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85430" y="2586284"/>
            <a:ext cx="676104" cy="676104"/>
          </a:xfrm>
          <a:prstGeom prst="rect">
            <a:avLst/>
          </a:prstGeom>
        </p:spPr>
      </p:pic>
      <p:pic>
        <p:nvPicPr>
          <p:cNvPr id="133" name="Graphic 57" descr="Research with solid fill">
            <a:extLst>
              <a:ext uri="{FF2B5EF4-FFF2-40B4-BE49-F238E27FC236}">
                <a16:creationId xmlns:a16="http://schemas.microsoft.com/office/drawing/2014/main" id="{0ACDD1A9-886D-6437-8516-0C16EB764A8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557922" y="2042449"/>
            <a:ext cx="676104" cy="676104"/>
          </a:xfrm>
          <a:prstGeom prst="rect">
            <a:avLst/>
          </a:prstGeom>
        </p:spPr>
      </p:pic>
      <p:sp>
        <p:nvSpPr>
          <p:cNvPr id="136" name="TextBox 60">
            <a:extLst>
              <a:ext uri="{FF2B5EF4-FFF2-40B4-BE49-F238E27FC236}">
                <a16:creationId xmlns:a16="http://schemas.microsoft.com/office/drawing/2014/main" id="{EDFE5F63-4DB8-7A82-8E52-4166B2DABF21}"/>
              </a:ext>
            </a:extLst>
          </p:cNvPr>
          <p:cNvSpPr txBox="1"/>
          <p:nvPr/>
        </p:nvSpPr>
        <p:spPr>
          <a:xfrm>
            <a:off x="5144105" y="3047595"/>
            <a:ext cx="687796" cy="369332"/>
          </a:xfrm>
          <a:prstGeom prst="rect">
            <a:avLst/>
          </a:prstGeom>
          <a:noFill/>
        </p:spPr>
        <p:txBody>
          <a:bodyPr wrap="square" lIns="0" r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noProof="1">
                <a:solidFill>
                  <a:schemeClr val="tx1">
                    <a:lumMod val="75000"/>
                    <a:lumOff val="25000"/>
                  </a:schemeClr>
                </a:solidFill>
              </a:rPr>
              <a:t>01</a:t>
            </a:r>
          </a:p>
        </p:txBody>
      </p:sp>
      <p:sp>
        <p:nvSpPr>
          <p:cNvPr id="137" name="TextBox 61">
            <a:extLst>
              <a:ext uri="{FF2B5EF4-FFF2-40B4-BE49-F238E27FC236}">
                <a16:creationId xmlns:a16="http://schemas.microsoft.com/office/drawing/2014/main" id="{C279D91D-8D2D-FCF0-C002-A5D9F12F0410}"/>
              </a:ext>
            </a:extLst>
          </p:cNvPr>
          <p:cNvSpPr txBox="1"/>
          <p:nvPr/>
        </p:nvSpPr>
        <p:spPr>
          <a:xfrm>
            <a:off x="5919037" y="2972924"/>
            <a:ext cx="687796" cy="369332"/>
          </a:xfrm>
          <a:prstGeom prst="rect">
            <a:avLst/>
          </a:prstGeom>
          <a:noFill/>
        </p:spPr>
        <p:txBody>
          <a:bodyPr wrap="square" lIns="0" r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noProof="1">
                <a:solidFill>
                  <a:schemeClr val="bg1"/>
                </a:solidFill>
              </a:rPr>
              <a:t>02</a:t>
            </a:r>
          </a:p>
        </p:txBody>
      </p:sp>
      <p:sp>
        <p:nvSpPr>
          <p:cNvPr id="138" name="TextBox 62">
            <a:extLst>
              <a:ext uri="{FF2B5EF4-FFF2-40B4-BE49-F238E27FC236}">
                <a16:creationId xmlns:a16="http://schemas.microsoft.com/office/drawing/2014/main" id="{91BB9E66-100A-A012-2F2C-9444BBFFEB55}"/>
              </a:ext>
            </a:extLst>
          </p:cNvPr>
          <p:cNvSpPr txBox="1"/>
          <p:nvPr/>
        </p:nvSpPr>
        <p:spPr>
          <a:xfrm>
            <a:off x="6599739" y="3554855"/>
            <a:ext cx="687796" cy="369332"/>
          </a:xfrm>
          <a:prstGeom prst="rect">
            <a:avLst/>
          </a:prstGeom>
          <a:noFill/>
        </p:spPr>
        <p:txBody>
          <a:bodyPr wrap="square" lIns="0" r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noProof="1">
                <a:solidFill>
                  <a:schemeClr val="tx1">
                    <a:lumMod val="75000"/>
                    <a:lumOff val="25000"/>
                  </a:schemeClr>
                </a:solidFill>
              </a:rPr>
              <a:t>03</a:t>
            </a:r>
          </a:p>
        </p:txBody>
      </p:sp>
      <p:sp>
        <p:nvSpPr>
          <p:cNvPr id="139" name="TextBox 63">
            <a:extLst>
              <a:ext uri="{FF2B5EF4-FFF2-40B4-BE49-F238E27FC236}">
                <a16:creationId xmlns:a16="http://schemas.microsoft.com/office/drawing/2014/main" id="{DF89524F-6F45-46C4-20F8-EF643560669D}"/>
              </a:ext>
            </a:extLst>
          </p:cNvPr>
          <p:cNvSpPr txBox="1"/>
          <p:nvPr/>
        </p:nvSpPr>
        <p:spPr>
          <a:xfrm>
            <a:off x="6563811" y="4521967"/>
            <a:ext cx="687796" cy="369332"/>
          </a:xfrm>
          <a:prstGeom prst="rect">
            <a:avLst/>
          </a:prstGeom>
          <a:noFill/>
        </p:spPr>
        <p:txBody>
          <a:bodyPr wrap="square" lIns="0" r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noProof="1">
                <a:solidFill>
                  <a:schemeClr val="tx1">
                    <a:lumMod val="75000"/>
                    <a:lumOff val="25000"/>
                  </a:schemeClr>
                </a:solidFill>
              </a:rPr>
              <a:t>04</a:t>
            </a:r>
          </a:p>
        </p:txBody>
      </p:sp>
      <p:sp>
        <p:nvSpPr>
          <p:cNvPr id="140" name="TextBox 64">
            <a:extLst>
              <a:ext uri="{FF2B5EF4-FFF2-40B4-BE49-F238E27FC236}">
                <a16:creationId xmlns:a16="http://schemas.microsoft.com/office/drawing/2014/main" id="{920CA2EC-41D1-E200-2DB5-687580596AF2}"/>
              </a:ext>
            </a:extLst>
          </p:cNvPr>
          <p:cNvSpPr txBox="1"/>
          <p:nvPr/>
        </p:nvSpPr>
        <p:spPr>
          <a:xfrm>
            <a:off x="5791386" y="4933989"/>
            <a:ext cx="687796" cy="369332"/>
          </a:xfrm>
          <a:prstGeom prst="rect">
            <a:avLst/>
          </a:prstGeom>
          <a:noFill/>
        </p:spPr>
        <p:txBody>
          <a:bodyPr wrap="square" lIns="0" r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noProof="1">
                <a:solidFill>
                  <a:schemeClr val="bg1"/>
                </a:solidFill>
              </a:rPr>
              <a:t>05</a:t>
            </a:r>
          </a:p>
        </p:txBody>
      </p:sp>
      <p:sp>
        <p:nvSpPr>
          <p:cNvPr id="141" name="TextBox 65">
            <a:extLst>
              <a:ext uri="{FF2B5EF4-FFF2-40B4-BE49-F238E27FC236}">
                <a16:creationId xmlns:a16="http://schemas.microsoft.com/office/drawing/2014/main" id="{9116935D-0517-F78A-60C7-329120485BD0}"/>
              </a:ext>
            </a:extLst>
          </p:cNvPr>
          <p:cNvSpPr txBox="1"/>
          <p:nvPr/>
        </p:nvSpPr>
        <p:spPr>
          <a:xfrm>
            <a:off x="4909712" y="4687122"/>
            <a:ext cx="687796" cy="369332"/>
          </a:xfrm>
          <a:prstGeom prst="rect">
            <a:avLst/>
          </a:prstGeom>
          <a:noFill/>
        </p:spPr>
        <p:txBody>
          <a:bodyPr wrap="square" lIns="0" r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noProof="1">
                <a:solidFill>
                  <a:schemeClr val="bg1"/>
                </a:solidFill>
              </a:rPr>
              <a:t>06</a:t>
            </a:r>
          </a:p>
        </p:txBody>
      </p:sp>
      <p:sp>
        <p:nvSpPr>
          <p:cNvPr id="142" name="TextBox 66">
            <a:extLst>
              <a:ext uri="{FF2B5EF4-FFF2-40B4-BE49-F238E27FC236}">
                <a16:creationId xmlns:a16="http://schemas.microsoft.com/office/drawing/2014/main" id="{DFE3D328-894F-1443-A080-2F7770A366AD}"/>
              </a:ext>
            </a:extLst>
          </p:cNvPr>
          <p:cNvSpPr txBox="1"/>
          <p:nvPr/>
        </p:nvSpPr>
        <p:spPr>
          <a:xfrm>
            <a:off x="4528906" y="3771575"/>
            <a:ext cx="687796" cy="369332"/>
          </a:xfrm>
          <a:prstGeom prst="rect">
            <a:avLst/>
          </a:prstGeom>
          <a:noFill/>
        </p:spPr>
        <p:txBody>
          <a:bodyPr wrap="square" lIns="0" r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noProof="1">
                <a:solidFill>
                  <a:schemeClr val="bg1"/>
                </a:solidFill>
              </a:rPr>
              <a:t>07</a:t>
            </a:r>
          </a:p>
        </p:txBody>
      </p:sp>
      <p:sp>
        <p:nvSpPr>
          <p:cNvPr id="162" name="TextBox 3">
            <a:extLst>
              <a:ext uri="{FF2B5EF4-FFF2-40B4-BE49-F238E27FC236}">
                <a16:creationId xmlns:a16="http://schemas.microsoft.com/office/drawing/2014/main" id="{AE25739C-50A2-7EE7-5727-0458B3B75362}"/>
              </a:ext>
            </a:extLst>
          </p:cNvPr>
          <p:cNvSpPr txBox="1"/>
          <p:nvPr/>
        </p:nvSpPr>
        <p:spPr>
          <a:xfrm>
            <a:off x="8579507" y="3931904"/>
            <a:ext cx="3151510" cy="707886"/>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noProof="1">
                <a:solidFill>
                  <a:schemeClr val="bg1"/>
                </a:solidFill>
              </a:rPr>
              <a:t>6 - </a:t>
            </a:r>
            <a:r>
              <a:rPr lang="fr-FR" sz="2000" b="1" dirty="0">
                <a:solidFill>
                  <a:schemeClr val="bg1"/>
                </a:solidFill>
              </a:rPr>
              <a:t>Annulations de dernières minutes</a:t>
            </a:r>
            <a:endParaRPr lang="en-US" sz="2000" b="1" noProof="1">
              <a:solidFill>
                <a:schemeClr val="bg1"/>
              </a:solidFill>
            </a:endParaRPr>
          </a:p>
        </p:txBody>
      </p:sp>
      <p:sp>
        <p:nvSpPr>
          <p:cNvPr id="160" name="TextBox 6">
            <a:extLst>
              <a:ext uri="{FF2B5EF4-FFF2-40B4-BE49-F238E27FC236}">
                <a16:creationId xmlns:a16="http://schemas.microsoft.com/office/drawing/2014/main" id="{DDB7BCDF-C90B-F513-75E1-51B6E1C00A16}"/>
              </a:ext>
            </a:extLst>
          </p:cNvPr>
          <p:cNvSpPr txBox="1"/>
          <p:nvPr/>
        </p:nvSpPr>
        <p:spPr>
          <a:xfrm>
            <a:off x="349832" y="2222421"/>
            <a:ext cx="3584819" cy="707886"/>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000" b="1" noProof="1">
                <a:solidFill>
                  <a:schemeClr val="bg1"/>
                </a:solidFill>
              </a:rPr>
              <a:t>1 - </a:t>
            </a:r>
            <a:r>
              <a:rPr lang="fr-FR" sz="2000" b="1" noProof="1">
                <a:solidFill>
                  <a:schemeClr val="bg1"/>
                </a:solidFill>
              </a:rPr>
              <a:t>Manque d’informations fiables (prix,disponibilté)</a:t>
            </a:r>
            <a:endParaRPr lang="en-US" sz="2000" b="1" noProof="1">
              <a:solidFill>
                <a:schemeClr val="bg1"/>
              </a:solidFill>
            </a:endParaRPr>
          </a:p>
        </p:txBody>
      </p:sp>
      <p:sp>
        <p:nvSpPr>
          <p:cNvPr id="158" name="TextBox 9">
            <a:extLst>
              <a:ext uri="{FF2B5EF4-FFF2-40B4-BE49-F238E27FC236}">
                <a16:creationId xmlns:a16="http://schemas.microsoft.com/office/drawing/2014/main" id="{BF756845-C231-24E5-8884-63D7991BA999}"/>
              </a:ext>
            </a:extLst>
          </p:cNvPr>
          <p:cNvSpPr txBox="1"/>
          <p:nvPr/>
        </p:nvSpPr>
        <p:spPr>
          <a:xfrm>
            <a:off x="349832" y="4495129"/>
            <a:ext cx="2544917" cy="707886"/>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000" b="1" noProof="1">
                <a:solidFill>
                  <a:schemeClr val="bg1"/>
                </a:solidFill>
              </a:rPr>
              <a:t>3 - Risque de mauvaises surprises</a:t>
            </a:r>
          </a:p>
        </p:txBody>
      </p:sp>
      <p:sp>
        <p:nvSpPr>
          <p:cNvPr id="156" name="TextBox 12">
            <a:extLst>
              <a:ext uri="{FF2B5EF4-FFF2-40B4-BE49-F238E27FC236}">
                <a16:creationId xmlns:a16="http://schemas.microsoft.com/office/drawing/2014/main" id="{05036B64-CF39-E9B3-6EF1-52AC67E36B39}"/>
              </a:ext>
            </a:extLst>
          </p:cNvPr>
          <p:cNvSpPr txBox="1"/>
          <p:nvPr/>
        </p:nvSpPr>
        <p:spPr>
          <a:xfrm>
            <a:off x="8579507" y="3232261"/>
            <a:ext cx="3228557" cy="400110"/>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noProof="1">
                <a:solidFill>
                  <a:schemeClr val="bg1"/>
                </a:solidFill>
              </a:rPr>
              <a:t>5 - Manque de visibilté</a:t>
            </a:r>
          </a:p>
        </p:txBody>
      </p:sp>
      <p:sp>
        <p:nvSpPr>
          <p:cNvPr id="154" name="TextBox 18">
            <a:extLst>
              <a:ext uri="{FF2B5EF4-FFF2-40B4-BE49-F238E27FC236}">
                <a16:creationId xmlns:a16="http://schemas.microsoft.com/office/drawing/2014/main" id="{AAB6C985-8B34-EB6D-0B8F-06E4577865A4}"/>
              </a:ext>
            </a:extLst>
          </p:cNvPr>
          <p:cNvSpPr txBox="1"/>
          <p:nvPr/>
        </p:nvSpPr>
        <p:spPr>
          <a:xfrm>
            <a:off x="-404616" y="3322233"/>
            <a:ext cx="3678497" cy="707886"/>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000" b="1" noProof="1">
                <a:solidFill>
                  <a:schemeClr val="bg1"/>
                </a:solidFill>
              </a:rPr>
              <a:t>2 - </a:t>
            </a:r>
            <a:r>
              <a:rPr lang="fr-FR" sz="2000" b="1" noProof="1">
                <a:solidFill>
                  <a:schemeClr val="bg1"/>
                </a:solidFill>
              </a:rPr>
              <a:t>Processus de reservation long(appels ,messages)</a:t>
            </a:r>
            <a:endParaRPr lang="en-US" sz="2000" b="1" noProof="1">
              <a:solidFill>
                <a:schemeClr val="bg1"/>
              </a:solidFill>
            </a:endParaRPr>
          </a:p>
        </p:txBody>
      </p:sp>
      <p:sp>
        <p:nvSpPr>
          <p:cNvPr id="152" name="TextBox 21">
            <a:extLst>
              <a:ext uri="{FF2B5EF4-FFF2-40B4-BE49-F238E27FC236}">
                <a16:creationId xmlns:a16="http://schemas.microsoft.com/office/drawing/2014/main" id="{26498CF2-8CB0-43FA-F34A-526126394226}"/>
              </a:ext>
            </a:extLst>
          </p:cNvPr>
          <p:cNvSpPr txBox="1"/>
          <p:nvPr/>
        </p:nvSpPr>
        <p:spPr>
          <a:xfrm>
            <a:off x="8579507" y="5017897"/>
            <a:ext cx="2926080" cy="400110"/>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noProof="1">
                <a:solidFill>
                  <a:schemeClr val="bg1"/>
                </a:solidFill>
              </a:rPr>
              <a:t>7 - Paiments non sécurisés</a:t>
            </a:r>
          </a:p>
        </p:txBody>
      </p:sp>
      <p:sp>
        <p:nvSpPr>
          <p:cNvPr id="150" name="TextBox 32">
            <a:extLst>
              <a:ext uri="{FF2B5EF4-FFF2-40B4-BE49-F238E27FC236}">
                <a16:creationId xmlns:a16="http://schemas.microsoft.com/office/drawing/2014/main" id="{FE208A84-2D18-3461-467E-32F31A9B3124}"/>
              </a:ext>
            </a:extLst>
          </p:cNvPr>
          <p:cNvSpPr txBox="1"/>
          <p:nvPr/>
        </p:nvSpPr>
        <p:spPr>
          <a:xfrm>
            <a:off x="8579507" y="2371136"/>
            <a:ext cx="3669978" cy="400110"/>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noProof="1">
                <a:solidFill>
                  <a:schemeClr val="bg1"/>
                </a:solidFill>
              </a:rPr>
              <a:t>4 – Reservations informelles</a:t>
            </a:r>
          </a:p>
        </p:txBody>
      </p:sp>
      <p:sp>
        <p:nvSpPr>
          <p:cNvPr id="165" name="ZoneTexte 164">
            <a:extLst>
              <a:ext uri="{FF2B5EF4-FFF2-40B4-BE49-F238E27FC236}">
                <a16:creationId xmlns:a16="http://schemas.microsoft.com/office/drawing/2014/main" id="{FE6653AC-45C1-D58F-70DB-CC44855F1515}"/>
              </a:ext>
            </a:extLst>
          </p:cNvPr>
          <p:cNvSpPr txBox="1"/>
          <p:nvPr/>
        </p:nvSpPr>
        <p:spPr>
          <a:xfrm>
            <a:off x="917224" y="1315589"/>
            <a:ext cx="1553745" cy="584775"/>
          </a:xfrm>
          <a:prstGeom prst="rect">
            <a:avLst/>
          </a:prstGeom>
          <a:noFill/>
        </p:spPr>
        <p:txBody>
          <a:bodyPr wrap="square">
            <a:spAutoFit/>
          </a:bodyPr>
          <a:lstStyle/>
          <a:p>
            <a:pPr algn="r"/>
            <a:r>
              <a:rPr lang="fr-FR" sz="3200" b="1" i="1" noProof="1">
                <a:solidFill>
                  <a:schemeClr val="bg1"/>
                </a:solidFill>
              </a:rPr>
              <a:t>Client</a:t>
            </a:r>
            <a:endParaRPr lang="en-US" sz="1800" b="1" i="1" noProof="1">
              <a:solidFill>
                <a:schemeClr val="bg1"/>
              </a:solidFill>
            </a:endParaRPr>
          </a:p>
        </p:txBody>
      </p:sp>
      <p:sp>
        <p:nvSpPr>
          <p:cNvPr id="167" name="ZoneTexte 166">
            <a:extLst>
              <a:ext uri="{FF2B5EF4-FFF2-40B4-BE49-F238E27FC236}">
                <a16:creationId xmlns:a16="http://schemas.microsoft.com/office/drawing/2014/main" id="{18DD49B3-4B04-2833-697F-BDB693678957}"/>
              </a:ext>
            </a:extLst>
          </p:cNvPr>
          <p:cNvSpPr txBox="1"/>
          <p:nvPr/>
        </p:nvSpPr>
        <p:spPr>
          <a:xfrm>
            <a:off x="8812306" y="1419985"/>
            <a:ext cx="2261957" cy="584775"/>
          </a:xfrm>
          <a:prstGeom prst="rect">
            <a:avLst/>
          </a:prstGeom>
          <a:noFill/>
        </p:spPr>
        <p:txBody>
          <a:bodyPr wrap="square">
            <a:spAutoFit/>
          </a:bodyPr>
          <a:lstStyle/>
          <a:p>
            <a:pPr algn="r"/>
            <a:r>
              <a:rPr lang="fr-FR" sz="3200" b="1" noProof="1">
                <a:solidFill>
                  <a:schemeClr val="bg1"/>
                </a:solidFill>
              </a:rPr>
              <a:t>Prestataire</a:t>
            </a:r>
            <a:endParaRPr lang="en-US" sz="3200" b="1" noProof="1">
              <a:solidFill>
                <a:schemeClr val="bg1"/>
              </a:solidFill>
            </a:endParaRPr>
          </a:p>
        </p:txBody>
      </p:sp>
      <p:pic>
        <p:nvPicPr>
          <p:cNvPr id="169" name="Image 168">
            <a:extLst>
              <a:ext uri="{FF2B5EF4-FFF2-40B4-BE49-F238E27FC236}">
                <a16:creationId xmlns:a16="http://schemas.microsoft.com/office/drawing/2014/main" id="{39C2CB0E-7D15-7394-E03E-014B79C40A5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00434" y="2921567"/>
            <a:ext cx="563773" cy="563773"/>
          </a:xfrm>
          <a:prstGeom prst="rect">
            <a:avLst/>
          </a:prstGeom>
        </p:spPr>
      </p:pic>
      <p:pic>
        <p:nvPicPr>
          <p:cNvPr id="171" name="Image 170">
            <a:extLst>
              <a:ext uri="{FF2B5EF4-FFF2-40B4-BE49-F238E27FC236}">
                <a16:creationId xmlns:a16="http://schemas.microsoft.com/office/drawing/2014/main" id="{D57B9A52-B84B-DFBD-107F-E585915B9BF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096016" y="4375031"/>
            <a:ext cx="563773" cy="563773"/>
          </a:xfrm>
          <a:prstGeom prst="rect">
            <a:avLst/>
          </a:prstGeom>
        </p:spPr>
      </p:pic>
      <p:pic>
        <p:nvPicPr>
          <p:cNvPr id="173" name="Image 172">
            <a:extLst>
              <a:ext uri="{FF2B5EF4-FFF2-40B4-BE49-F238E27FC236}">
                <a16:creationId xmlns:a16="http://schemas.microsoft.com/office/drawing/2014/main" id="{2476A023-0E69-2B16-1A6E-169A161B751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149654" y="5546560"/>
            <a:ext cx="400110" cy="400110"/>
          </a:xfrm>
          <a:prstGeom prst="rect">
            <a:avLst/>
          </a:prstGeom>
        </p:spPr>
      </p:pic>
      <p:pic>
        <p:nvPicPr>
          <p:cNvPr id="175" name="Image 174">
            <a:extLst>
              <a:ext uri="{FF2B5EF4-FFF2-40B4-BE49-F238E27FC236}">
                <a16:creationId xmlns:a16="http://schemas.microsoft.com/office/drawing/2014/main" id="{763AB92E-0DC1-C0A9-42A2-6A2147467D2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563811" y="5326000"/>
            <a:ext cx="612097" cy="612097"/>
          </a:xfrm>
          <a:prstGeom prst="rect">
            <a:avLst/>
          </a:prstGeom>
        </p:spPr>
      </p:pic>
      <p:sp>
        <p:nvSpPr>
          <p:cNvPr id="2" name="Rectangle 1">
            <a:extLst>
              <a:ext uri="{FF2B5EF4-FFF2-40B4-BE49-F238E27FC236}">
                <a16:creationId xmlns:a16="http://schemas.microsoft.com/office/drawing/2014/main" id="{D2007CA6-01C8-4111-9CCE-0A7A2CF2893C}"/>
              </a:ext>
            </a:extLst>
          </p:cNvPr>
          <p:cNvSpPr/>
          <p:nvPr/>
        </p:nvSpPr>
        <p:spPr>
          <a:xfrm flipH="1">
            <a:off x="11777694" y="6175926"/>
            <a:ext cx="232888" cy="646331"/>
          </a:xfrm>
          <a:prstGeom prst="rect">
            <a:avLst/>
          </a:prstGeom>
          <a:noFill/>
        </p:spPr>
        <p:txBody>
          <a:bodyPr wrap="square" lIns="91440" tIns="45720" rIns="91440" bIns="45720">
            <a:spAutoFit/>
          </a:bodyPr>
          <a:lstStyle/>
          <a:p>
            <a:pPr algn="ctr"/>
            <a:r>
              <a:rPr lang="en-US" sz="36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1</a:t>
            </a:r>
          </a:p>
        </p:txBody>
      </p:sp>
    </p:spTree>
    <p:extLst>
      <p:ext uri="{BB962C8B-B14F-4D97-AF65-F5344CB8AC3E}">
        <p14:creationId xmlns:p14="http://schemas.microsoft.com/office/powerpoint/2010/main" val="19179240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122"/>
                                        </p:tgtEl>
                                        <p:attrNameLst>
                                          <p:attrName>style.visibility</p:attrName>
                                        </p:attrNameLst>
                                      </p:cBhvr>
                                      <p:to>
                                        <p:strVal val="visible"/>
                                      </p:to>
                                    </p:set>
                                    <p:animEffect transition="in" filter="randombar(horizontal)">
                                      <p:cBhvr>
                                        <p:cTn id="7" dur="500"/>
                                        <p:tgtEl>
                                          <p:spTgt spid="122"/>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123"/>
                                        </p:tgtEl>
                                        <p:attrNameLst>
                                          <p:attrName>style.visibility</p:attrName>
                                        </p:attrNameLst>
                                      </p:cBhvr>
                                      <p:to>
                                        <p:strVal val="visible"/>
                                      </p:to>
                                    </p:set>
                                    <p:animEffect transition="in" filter="randombar(horizontal)">
                                      <p:cBhvr>
                                        <p:cTn id="10" dur="500"/>
                                        <p:tgtEl>
                                          <p:spTgt spid="123"/>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124"/>
                                        </p:tgtEl>
                                        <p:attrNameLst>
                                          <p:attrName>style.visibility</p:attrName>
                                        </p:attrNameLst>
                                      </p:cBhvr>
                                      <p:to>
                                        <p:strVal val="visible"/>
                                      </p:to>
                                    </p:set>
                                    <p:animEffect transition="in" filter="randombar(horizontal)">
                                      <p:cBhvr>
                                        <p:cTn id="13" dur="500"/>
                                        <p:tgtEl>
                                          <p:spTgt spid="124"/>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25"/>
                                        </p:tgtEl>
                                        <p:attrNameLst>
                                          <p:attrName>style.visibility</p:attrName>
                                        </p:attrNameLst>
                                      </p:cBhvr>
                                      <p:to>
                                        <p:strVal val="visible"/>
                                      </p:to>
                                    </p:set>
                                    <p:animEffect transition="in" filter="randombar(horizontal)">
                                      <p:cBhvr>
                                        <p:cTn id="16" dur="500"/>
                                        <p:tgtEl>
                                          <p:spTgt spid="125"/>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127"/>
                                        </p:tgtEl>
                                        <p:attrNameLst>
                                          <p:attrName>style.visibility</p:attrName>
                                        </p:attrNameLst>
                                      </p:cBhvr>
                                      <p:to>
                                        <p:strVal val="visible"/>
                                      </p:to>
                                    </p:set>
                                    <p:animEffect transition="in" filter="randombar(horizontal)">
                                      <p:cBhvr>
                                        <p:cTn id="19" dur="500"/>
                                        <p:tgtEl>
                                          <p:spTgt spid="127"/>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126"/>
                                        </p:tgtEl>
                                        <p:attrNameLst>
                                          <p:attrName>style.visibility</p:attrName>
                                        </p:attrNameLst>
                                      </p:cBhvr>
                                      <p:to>
                                        <p:strVal val="visible"/>
                                      </p:to>
                                    </p:set>
                                    <p:animEffect transition="in" filter="randombar(horizontal)">
                                      <p:cBhvr>
                                        <p:cTn id="22" dur="500"/>
                                        <p:tgtEl>
                                          <p:spTgt spid="126"/>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121"/>
                                        </p:tgtEl>
                                        <p:attrNameLst>
                                          <p:attrName>style.visibility</p:attrName>
                                        </p:attrNameLst>
                                      </p:cBhvr>
                                      <p:to>
                                        <p:strVal val="visible"/>
                                      </p:to>
                                    </p:set>
                                    <p:animEffect transition="in" filter="randombar(horizontal)">
                                      <p:cBhvr>
                                        <p:cTn id="25" dur="500"/>
                                        <p:tgtEl>
                                          <p:spTgt spid="121"/>
                                        </p:tgtEl>
                                      </p:cBhvr>
                                    </p:animEffect>
                                  </p:childTnLst>
                                </p:cTn>
                              </p:par>
                              <p:par>
                                <p:cTn id="26" presetID="14" presetClass="entr" presetSubtype="10" fill="hold" grpId="0" nodeType="withEffect">
                                  <p:stCondLst>
                                    <p:cond delay="0"/>
                                  </p:stCondLst>
                                  <p:childTnLst>
                                    <p:set>
                                      <p:cBhvr>
                                        <p:cTn id="27" dur="1" fill="hold">
                                          <p:stCondLst>
                                            <p:cond delay="0"/>
                                          </p:stCondLst>
                                        </p:cTn>
                                        <p:tgtEl>
                                          <p:spTgt spid="128"/>
                                        </p:tgtEl>
                                        <p:attrNameLst>
                                          <p:attrName>style.visibility</p:attrName>
                                        </p:attrNameLst>
                                      </p:cBhvr>
                                      <p:to>
                                        <p:strVal val="visible"/>
                                      </p:to>
                                    </p:set>
                                    <p:animEffect transition="in" filter="randombar(horizontal)">
                                      <p:cBhvr>
                                        <p:cTn id="28" dur="500"/>
                                        <p:tgtEl>
                                          <p:spTgt spid="128"/>
                                        </p:tgtEl>
                                      </p:cBhvr>
                                    </p:animEffect>
                                  </p:childTnLst>
                                </p:cTn>
                              </p:par>
                              <p:par>
                                <p:cTn id="29" presetID="14" presetClass="entr" presetSubtype="10" fill="hold" nodeType="withEffect">
                                  <p:stCondLst>
                                    <p:cond delay="0"/>
                                  </p:stCondLst>
                                  <p:childTnLst>
                                    <p:set>
                                      <p:cBhvr>
                                        <p:cTn id="30" dur="1" fill="hold">
                                          <p:stCondLst>
                                            <p:cond delay="0"/>
                                          </p:stCondLst>
                                        </p:cTn>
                                        <p:tgtEl>
                                          <p:spTgt spid="129"/>
                                        </p:tgtEl>
                                        <p:attrNameLst>
                                          <p:attrName>style.visibility</p:attrName>
                                        </p:attrNameLst>
                                      </p:cBhvr>
                                      <p:to>
                                        <p:strVal val="visible"/>
                                      </p:to>
                                    </p:set>
                                    <p:animEffect transition="in" filter="randombar(horizontal)">
                                      <p:cBhvr>
                                        <p:cTn id="31" dur="500"/>
                                        <p:tgtEl>
                                          <p:spTgt spid="129"/>
                                        </p:tgtEl>
                                      </p:cBhvr>
                                    </p:animEffect>
                                  </p:childTnLst>
                                </p:cTn>
                              </p:par>
                              <p:par>
                                <p:cTn id="32" presetID="14" presetClass="entr" presetSubtype="10" fill="hold" nodeType="withEffect">
                                  <p:stCondLst>
                                    <p:cond delay="0"/>
                                  </p:stCondLst>
                                  <p:childTnLst>
                                    <p:set>
                                      <p:cBhvr>
                                        <p:cTn id="33" dur="1" fill="hold">
                                          <p:stCondLst>
                                            <p:cond delay="0"/>
                                          </p:stCondLst>
                                        </p:cTn>
                                        <p:tgtEl>
                                          <p:spTgt spid="131"/>
                                        </p:tgtEl>
                                        <p:attrNameLst>
                                          <p:attrName>style.visibility</p:attrName>
                                        </p:attrNameLst>
                                      </p:cBhvr>
                                      <p:to>
                                        <p:strVal val="visible"/>
                                      </p:to>
                                    </p:set>
                                    <p:animEffect transition="in" filter="randombar(horizontal)">
                                      <p:cBhvr>
                                        <p:cTn id="34" dur="500"/>
                                        <p:tgtEl>
                                          <p:spTgt spid="131"/>
                                        </p:tgtEl>
                                      </p:cBhvr>
                                    </p:animEffect>
                                  </p:childTnLst>
                                </p:cTn>
                              </p:par>
                              <p:par>
                                <p:cTn id="35" presetID="14" presetClass="entr" presetSubtype="10" fill="hold" nodeType="withEffect">
                                  <p:stCondLst>
                                    <p:cond delay="0"/>
                                  </p:stCondLst>
                                  <p:childTnLst>
                                    <p:set>
                                      <p:cBhvr>
                                        <p:cTn id="36" dur="1" fill="hold">
                                          <p:stCondLst>
                                            <p:cond delay="0"/>
                                          </p:stCondLst>
                                        </p:cTn>
                                        <p:tgtEl>
                                          <p:spTgt spid="133"/>
                                        </p:tgtEl>
                                        <p:attrNameLst>
                                          <p:attrName>style.visibility</p:attrName>
                                        </p:attrNameLst>
                                      </p:cBhvr>
                                      <p:to>
                                        <p:strVal val="visible"/>
                                      </p:to>
                                    </p:set>
                                    <p:animEffect transition="in" filter="randombar(horizontal)">
                                      <p:cBhvr>
                                        <p:cTn id="37" dur="500"/>
                                        <p:tgtEl>
                                          <p:spTgt spid="133"/>
                                        </p:tgtEl>
                                      </p:cBhvr>
                                    </p:animEffect>
                                  </p:childTnLst>
                                </p:cTn>
                              </p:par>
                              <p:par>
                                <p:cTn id="38" presetID="14" presetClass="entr" presetSubtype="10" fill="hold" grpId="0" nodeType="withEffect">
                                  <p:stCondLst>
                                    <p:cond delay="0"/>
                                  </p:stCondLst>
                                  <p:childTnLst>
                                    <p:set>
                                      <p:cBhvr>
                                        <p:cTn id="39" dur="1" fill="hold">
                                          <p:stCondLst>
                                            <p:cond delay="0"/>
                                          </p:stCondLst>
                                        </p:cTn>
                                        <p:tgtEl>
                                          <p:spTgt spid="136"/>
                                        </p:tgtEl>
                                        <p:attrNameLst>
                                          <p:attrName>style.visibility</p:attrName>
                                        </p:attrNameLst>
                                      </p:cBhvr>
                                      <p:to>
                                        <p:strVal val="visible"/>
                                      </p:to>
                                    </p:set>
                                    <p:animEffect transition="in" filter="randombar(horizontal)">
                                      <p:cBhvr>
                                        <p:cTn id="40" dur="500"/>
                                        <p:tgtEl>
                                          <p:spTgt spid="136"/>
                                        </p:tgtEl>
                                      </p:cBhvr>
                                    </p:animEffect>
                                  </p:childTnLst>
                                </p:cTn>
                              </p:par>
                              <p:par>
                                <p:cTn id="41" presetID="14" presetClass="entr" presetSubtype="10" fill="hold" grpId="0" nodeType="withEffect">
                                  <p:stCondLst>
                                    <p:cond delay="0"/>
                                  </p:stCondLst>
                                  <p:childTnLst>
                                    <p:set>
                                      <p:cBhvr>
                                        <p:cTn id="42" dur="1" fill="hold">
                                          <p:stCondLst>
                                            <p:cond delay="0"/>
                                          </p:stCondLst>
                                        </p:cTn>
                                        <p:tgtEl>
                                          <p:spTgt spid="137"/>
                                        </p:tgtEl>
                                        <p:attrNameLst>
                                          <p:attrName>style.visibility</p:attrName>
                                        </p:attrNameLst>
                                      </p:cBhvr>
                                      <p:to>
                                        <p:strVal val="visible"/>
                                      </p:to>
                                    </p:set>
                                    <p:animEffect transition="in" filter="randombar(horizontal)">
                                      <p:cBhvr>
                                        <p:cTn id="43" dur="500"/>
                                        <p:tgtEl>
                                          <p:spTgt spid="137"/>
                                        </p:tgtEl>
                                      </p:cBhvr>
                                    </p:animEffect>
                                  </p:childTnLst>
                                </p:cTn>
                              </p:par>
                              <p:par>
                                <p:cTn id="44" presetID="14" presetClass="entr" presetSubtype="10" fill="hold" grpId="0" nodeType="withEffect">
                                  <p:stCondLst>
                                    <p:cond delay="0"/>
                                  </p:stCondLst>
                                  <p:childTnLst>
                                    <p:set>
                                      <p:cBhvr>
                                        <p:cTn id="45" dur="1" fill="hold">
                                          <p:stCondLst>
                                            <p:cond delay="0"/>
                                          </p:stCondLst>
                                        </p:cTn>
                                        <p:tgtEl>
                                          <p:spTgt spid="138"/>
                                        </p:tgtEl>
                                        <p:attrNameLst>
                                          <p:attrName>style.visibility</p:attrName>
                                        </p:attrNameLst>
                                      </p:cBhvr>
                                      <p:to>
                                        <p:strVal val="visible"/>
                                      </p:to>
                                    </p:set>
                                    <p:animEffect transition="in" filter="randombar(horizontal)">
                                      <p:cBhvr>
                                        <p:cTn id="46" dur="500"/>
                                        <p:tgtEl>
                                          <p:spTgt spid="138"/>
                                        </p:tgtEl>
                                      </p:cBhvr>
                                    </p:animEffect>
                                  </p:childTnLst>
                                </p:cTn>
                              </p:par>
                              <p:par>
                                <p:cTn id="47" presetID="14" presetClass="entr" presetSubtype="10" fill="hold" grpId="0" nodeType="withEffect">
                                  <p:stCondLst>
                                    <p:cond delay="0"/>
                                  </p:stCondLst>
                                  <p:childTnLst>
                                    <p:set>
                                      <p:cBhvr>
                                        <p:cTn id="48" dur="1" fill="hold">
                                          <p:stCondLst>
                                            <p:cond delay="0"/>
                                          </p:stCondLst>
                                        </p:cTn>
                                        <p:tgtEl>
                                          <p:spTgt spid="139"/>
                                        </p:tgtEl>
                                        <p:attrNameLst>
                                          <p:attrName>style.visibility</p:attrName>
                                        </p:attrNameLst>
                                      </p:cBhvr>
                                      <p:to>
                                        <p:strVal val="visible"/>
                                      </p:to>
                                    </p:set>
                                    <p:animEffect transition="in" filter="randombar(horizontal)">
                                      <p:cBhvr>
                                        <p:cTn id="49" dur="500"/>
                                        <p:tgtEl>
                                          <p:spTgt spid="139"/>
                                        </p:tgtEl>
                                      </p:cBhvr>
                                    </p:animEffect>
                                  </p:childTnLst>
                                </p:cTn>
                              </p:par>
                              <p:par>
                                <p:cTn id="50" presetID="14" presetClass="entr" presetSubtype="10" fill="hold" grpId="0" nodeType="withEffect">
                                  <p:stCondLst>
                                    <p:cond delay="0"/>
                                  </p:stCondLst>
                                  <p:childTnLst>
                                    <p:set>
                                      <p:cBhvr>
                                        <p:cTn id="51" dur="1" fill="hold">
                                          <p:stCondLst>
                                            <p:cond delay="0"/>
                                          </p:stCondLst>
                                        </p:cTn>
                                        <p:tgtEl>
                                          <p:spTgt spid="140"/>
                                        </p:tgtEl>
                                        <p:attrNameLst>
                                          <p:attrName>style.visibility</p:attrName>
                                        </p:attrNameLst>
                                      </p:cBhvr>
                                      <p:to>
                                        <p:strVal val="visible"/>
                                      </p:to>
                                    </p:set>
                                    <p:animEffect transition="in" filter="randombar(horizontal)">
                                      <p:cBhvr>
                                        <p:cTn id="52" dur="500"/>
                                        <p:tgtEl>
                                          <p:spTgt spid="140"/>
                                        </p:tgtEl>
                                      </p:cBhvr>
                                    </p:animEffect>
                                  </p:childTnLst>
                                </p:cTn>
                              </p:par>
                              <p:par>
                                <p:cTn id="53" presetID="14" presetClass="entr" presetSubtype="10" fill="hold" grpId="0" nodeType="withEffect">
                                  <p:stCondLst>
                                    <p:cond delay="0"/>
                                  </p:stCondLst>
                                  <p:childTnLst>
                                    <p:set>
                                      <p:cBhvr>
                                        <p:cTn id="54" dur="1" fill="hold">
                                          <p:stCondLst>
                                            <p:cond delay="0"/>
                                          </p:stCondLst>
                                        </p:cTn>
                                        <p:tgtEl>
                                          <p:spTgt spid="141"/>
                                        </p:tgtEl>
                                        <p:attrNameLst>
                                          <p:attrName>style.visibility</p:attrName>
                                        </p:attrNameLst>
                                      </p:cBhvr>
                                      <p:to>
                                        <p:strVal val="visible"/>
                                      </p:to>
                                    </p:set>
                                    <p:animEffect transition="in" filter="randombar(horizontal)">
                                      <p:cBhvr>
                                        <p:cTn id="55" dur="500"/>
                                        <p:tgtEl>
                                          <p:spTgt spid="141"/>
                                        </p:tgtEl>
                                      </p:cBhvr>
                                    </p:animEffect>
                                  </p:childTnLst>
                                </p:cTn>
                              </p:par>
                              <p:par>
                                <p:cTn id="56" presetID="14" presetClass="entr" presetSubtype="10" fill="hold" grpId="0" nodeType="withEffect">
                                  <p:stCondLst>
                                    <p:cond delay="0"/>
                                  </p:stCondLst>
                                  <p:childTnLst>
                                    <p:set>
                                      <p:cBhvr>
                                        <p:cTn id="57" dur="1" fill="hold">
                                          <p:stCondLst>
                                            <p:cond delay="0"/>
                                          </p:stCondLst>
                                        </p:cTn>
                                        <p:tgtEl>
                                          <p:spTgt spid="142"/>
                                        </p:tgtEl>
                                        <p:attrNameLst>
                                          <p:attrName>style.visibility</p:attrName>
                                        </p:attrNameLst>
                                      </p:cBhvr>
                                      <p:to>
                                        <p:strVal val="visible"/>
                                      </p:to>
                                    </p:set>
                                    <p:animEffect transition="in" filter="randombar(horizontal)">
                                      <p:cBhvr>
                                        <p:cTn id="58" dur="500"/>
                                        <p:tgtEl>
                                          <p:spTgt spid="142"/>
                                        </p:tgtEl>
                                      </p:cBhvr>
                                    </p:animEffect>
                                  </p:childTnLst>
                                </p:cTn>
                              </p:par>
                              <p:par>
                                <p:cTn id="59" presetID="14" presetClass="entr" presetSubtype="10" fill="hold" nodeType="withEffect">
                                  <p:stCondLst>
                                    <p:cond delay="0"/>
                                  </p:stCondLst>
                                  <p:childTnLst>
                                    <p:set>
                                      <p:cBhvr>
                                        <p:cTn id="60" dur="1" fill="hold">
                                          <p:stCondLst>
                                            <p:cond delay="0"/>
                                          </p:stCondLst>
                                        </p:cTn>
                                        <p:tgtEl>
                                          <p:spTgt spid="169"/>
                                        </p:tgtEl>
                                        <p:attrNameLst>
                                          <p:attrName>style.visibility</p:attrName>
                                        </p:attrNameLst>
                                      </p:cBhvr>
                                      <p:to>
                                        <p:strVal val="visible"/>
                                      </p:to>
                                    </p:set>
                                    <p:animEffect transition="in" filter="randombar(horizontal)">
                                      <p:cBhvr>
                                        <p:cTn id="61" dur="500"/>
                                        <p:tgtEl>
                                          <p:spTgt spid="169"/>
                                        </p:tgtEl>
                                      </p:cBhvr>
                                    </p:animEffect>
                                  </p:childTnLst>
                                </p:cTn>
                              </p:par>
                              <p:par>
                                <p:cTn id="62" presetID="14" presetClass="entr" presetSubtype="10" fill="hold" nodeType="withEffect">
                                  <p:stCondLst>
                                    <p:cond delay="0"/>
                                  </p:stCondLst>
                                  <p:childTnLst>
                                    <p:set>
                                      <p:cBhvr>
                                        <p:cTn id="63" dur="1" fill="hold">
                                          <p:stCondLst>
                                            <p:cond delay="0"/>
                                          </p:stCondLst>
                                        </p:cTn>
                                        <p:tgtEl>
                                          <p:spTgt spid="171"/>
                                        </p:tgtEl>
                                        <p:attrNameLst>
                                          <p:attrName>style.visibility</p:attrName>
                                        </p:attrNameLst>
                                      </p:cBhvr>
                                      <p:to>
                                        <p:strVal val="visible"/>
                                      </p:to>
                                    </p:set>
                                    <p:animEffect transition="in" filter="randombar(horizontal)">
                                      <p:cBhvr>
                                        <p:cTn id="64" dur="500"/>
                                        <p:tgtEl>
                                          <p:spTgt spid="171"/>
                                        </p:tgtEl>
                                      </p:cBhvr>
                                    </p:animEffect>
                                  </p:childTnLst>
                                </p:cTn>
                              </p:par>
                              <p:par>
                                <p:cTn id="65" presetID="14" presetClass="entr" presetSubtype="10" fill="hold" nodeType="withEffect">
                                  <p:stCondLst>
                                    <p:cond delay="0"/>
                                  </p:stCondLst>
                                  <p:childTnLst>
                                    <p:set>
                                      <p:cBhvr>
                                        <p:cTn id="66" dur="1" fill="hold">
                                          <p:stCondLst>
                                            <p:cond delay="0"/>
                                          </p:stCondLst>
                                        </p:cTn>
                                        <p:tgtEl>
                                          <p:spTgt spid="173"/>
                                        </p:tgtEl>
                                        <p:attrNameLst>
                                          <p:attrName>style.visibility</p:attrName>
                                        </p:attrNameLst>
                                      </p:cBhvr>
                                      <p:to>
                                        <p:strVal val="visible"/>
                                      </p:to>
                                    </p:set>
                                    <p:animEffect transition="in" filter="randombar(horizontal)">
                                      <p:cBhvr>
                                        <p:cTn id="67" dur="500"/>
                                        <p:tgtEl>
                                          <p:spTgt spid="173"/>
                                        </p:tgtEl>
                                      </p:cBhvr>
                                    </p:animEffect>
                                  </p:childTnLst>
                                </p:cTn>
                              </p:par>
                              <p:par>
                                <p:cTn id="68" presetID="14" presetClass="entr" presetSubtype="10" fill="hold" nodeType="withEffect">
                                  <p:stCondLst>
                                    <p:cond delay="0"/>
                                  </p:stCondLst>
                                  <p:childTnLst>
                                    <p:set>
                                      <p:cBhvr>
                                        <p:cTn id="69" dur="1" fill="hold">
                                          <p:stCondLst>
                                            <p:cond delay="0"/>
                                          </p:stCondLst>
                                        </p:cTn>
                                        <p:tgtEl>
                                          <p:spTgt spid="175"/>
                                        </p:tgtEl>
                                        <p:attrNameLst>
                                          <p:attrName>style.visibility</p:attrName>
                                        </p:attrNameLst>
                                      </p:cBhvr>
                                      <p:to>
                                        <p:strVal val="visible"/>
                                      </p:to>
                                    </p:set>
                                    <p:animEffect transition="in" filter="randombar(horizontal)">
                                      <p:cBhvr>
                                        <p:cTn id="70" dur="500"/>
                                        <p:tgtEl>
                                          <p:spTgt spid="1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animBg="1"/>
      <p:bldP spid="122" grpId="0" animBg="1"/>
      <p:bldP spid="123" grpId="0" animBg="1"/>
      <p:bldP spid="124" grpId="0" animBg="1"/>
      <p:bldP spid="125" grpId="0" animBg="1"/>
      <p:bldP spid="126" grpId="0" animBg="1"/>
      <p:bldP spid="127" grpId="0" animBg="1"/>
      <p:bldP spid="128" grpId="0" animBg="1"/>
      <p:bldP spid="136" grpId="0"/>
      <p:bldP spid="137" grpId="0"/>
      <p:bldP spid="138" grpId="0"/>
      <p:bldP spid="139" grpId="0"/>
      <p:bldP spid="140" grpId="0"/>
      <p:bldP spid="141" grpId="0"/>
      <p:bldP spid="14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F83F07-17A4-1D0E-2D87-5DAE582E80BE}"/>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B48E6A7-A0D5-2402-36D0-F9471BC65B93}"/>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51" name="Oval 50">
            <a:extLst>
              <a:ext uri="{FF2B5EF4-FFF2-40B4-BE49-F238E27FC236}">
                <a16:creationId xmlns:a16="http://schemas.microsoft.com/office/drawing/2014/main" id="{0647CCC4-3CD4-D0EF-8D8F-9E2998BB5483}"/>
              </a:ext>
            </a:extLst>
          </p:cNvPr>
          <p:cNvSpPr/>
          <p:nvPr/>
        </p:nvSpPr>
        <p:spPr>
          <a:xfrm>
            <a:off x="5842207" y="338873"/>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2" name="Graphic 51">
            <a:extLst>
              <a:ext uri="{FF2B5EF4-FFF2-40B4-BE49-F238E27FC236}">
                <a16:creationId xmlns:a16="http://schemas.microsoft.com/office/drawing/2014/main" id="{50BC7234-8906-B407-133B-917C4604A580}"/>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970000" y="466666"/>
            <a:ext cx="252000" cy="252000"/>
          </a:xfrm>
          <a:prstGeom prst="rect">
            <a:avLst/>
          </a:prstGeom>
        </p:spPr>
      </p:pic>
      <p:sp>
        <p:nvSpPr>
          <p:cNvPr id="192" name="TextBox 191">
            <a:extLst>
              <a:ext uri="{FF2B5EF4-FFF2-40B4-BE49-F238E27FC236}">
                <a16:creationId xmlns:a16="http://schemas.microsoft.com/office/drawing/2014/main" id="{7ACA3C9A-9663-378F-DC66-405B7C6A5C65}"/>
              </a:ext>
            </a:extLst>
          </p:cNvPr>
          <p:cNvSpPr txBox="1"/>
          <p:nvPr/>
        </p:nvSpPr>
        <p:spPr>
          <a:xfrm>
            <a:off x="281745" y="1032332"/>
            <a:ext cx="7611524" cy="494879"/>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800" dirty="0"/>
              <a:t>Trésorerie prévisionnelle</a:t>
            </a:r>
            <a:endParaRPr lang="en-GB" sz="4800" dirty="0"/>
          </a:p>
        </p:txBody>
      </p:sp>
      <p:sp>
        <p:nvSpPr>
          <p:cNvPr id="3" name="TextBox 1">
            <a:extLst>
              <a:ext uri="{FF2B5EF4-FFF2-40B4-BE49-F238E27FC236}">
                <a16:creationId xmlns:a16="http://schemas.microsoft.com/office/drawing/2014/main" id="{6055ACD7-A26E-B5FD-CCB8-96FE7252714A}"/>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sp>
        <p:nvSpPr>
          <p:cNvPr id="4" name="TextBox 1">
            <a:extLst>
              <a:ext uri="{FF2B5EF4-FFF2-40B4-BE49-F238E27FC236}">
                <a16:creationId xmlns:a16="http://schemas.microsoft.com/office/drawing/2014/main" id="{5E4B2627-42E3-58D3-1379-B4AFC36C1C9E}"/>
              </a:ext>
            </a:extLst>
          </p:cNvPr>
          <p:cNvSpPr txBox="1"/>
          <p:nvPr/>
        </p:nvSpPr>
        <p:spPr>
          <a:xfrm>
            <a:off x="908648" y="407551"/>
            <a:ext cx="945772"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technique</a:t>
            </a:r>
          </a:p>
        </p:txBody>
      </p:sp>
      <p:pic>
        <p:nvPicPr>
          <p:cNvPr id="2" name="Picture 2">
            <a:extLst>
              <a:ext uri="{FF2B5EF4-FFF2-40B4-BE49-F238E27FC236}">
                <a16:creationId xmlns:a16="http://schemas.microsoft.com/office/drawing/2014/main" id="{C4996C4B-4DF7-6675-E1F1-E9F561F23512}"/>
              </a:ext>
            </a:extLst>
          </p:cNvPr>
          <p:cNvPicPr>
            <a:picLocks noChangeAspect="1"/>
          </p:cNvPicPr>
          <p:nvPr/>
        </p:nvPicPr>
        <p:blipFill>
          <a:blip r:embed="rId5"/>
          <a:stretch>
            <a:fillRect/>
          </a:stretch>
        </p:blipFill>
        <p:spPr>
          <a:xfrm>
            <a:off x="1290606" y="1586964"/>
            <a:ext cx="9358787" cy="5047150"/>
          </a:xfrm>
          <a:prstGeom prst="rect">
            <a:avLst/>
          </a:prstGeom>
        </p:spPr>
      </p:pic>
      <p:sp>
        <p:nvSpPr>
          <p:cNvPr id="5" name="Rectangle 4">
            <a:extLst>
              <a:ext uri="{FF2B5EF4-FFF2-40B4-BE49-F238E27FC236}">
                <a16:creationId xmlns:a16="http://schemas.microsoft.com/office/drawing/2014/main" id="{FD869F0B-842A-441D-9E61-078AF5CC3C6D}"/>
              </a:ext>
            </a:extLst>
          </p:cNvPr>
          <p:cNvSpPr/>
          <p:nvPr/>
        </p:nvSpPr>
        <p:spPr>
          <a:xfrm>
            <a:off x="11423848" y="6234221"/>
            <a:ext cx="601447" cy="584775"/>
          </a:xfrm>
          <a:prstGeom prst="rect">
            <a:avLst/>
          </a:prstGeom>
        </p:spPr>
        <p:txBody>
          <a:bodyPr wrap="none">
            <a:spAutoFit/>
          </a:bodyPr>
          <a:lstStyle/>
          <a:p>
            <a:r>
              <a:rPr lang="en-US"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28</a:t>
            </a:r>
            <a:endParaRPr lang="fr-TN" sz="3200" dirty="0"/>
          </a:p>
        </p:txBody>
      </p:sp>
    </p:spTree>
    <p:extLst>
      <p:ext uri="{BB962C8B-B14F-4D97-AF65-F5344CB8AC3E}">
        <p14:creationId xmlns:p14="http://schemas.microsoft.com/office/powerpoint/2010/main" val="47504628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A23846-5AB0-0898-6E0F-30AD1F0CE939}"/>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6628252-C222-85A0-C9DB-6D2FD7A6FE0E}"/>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51" name="Oval 50">
            <a:extLst>
              <a:ext uri="{FF2B5EF4-FFF2-40B4-BE49-F238E27FC236}">
                <a16:creationId xmlns:a16="http://schemas.microsoft.com/office/drawing/2014/main" id="{16FAD56A-5194-34F4-2E20-C36D27981948}"/>
              </a:ext>
            </a:extLst>
          </p:cNvPr>
          <p:cNvSpPr/>
          <p:nvPr/>
        </p:nvSpPr>
        <p:spPr>
          <a:xfrm>
            <a:off x="5842207" y="338873"/>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2" name="Graphic 51">
            <a:extLst>
              <a:ext uri="{FF2B5EF4-FFF2-40B4-BE49-F238E27FC236}">
                <a16:creationId xmlns:a16="http://schemas.microsoft.com/office/drawing/2014/main" id="{D7C3A911-CD18-DB07-47CF-BEE9BD5D479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970000" y="466666"/>
            <a:ext cx="252000" cy="252000"/>
          </a:xfrm>
          <a:prstGeom prst="rect">
            <a:avLst/>
          </a:prstGeom>
        </p:spPr>
      </p:pic>
      <p:sp>
        <p:nvSpPr>
          <p:cNvPr id="192" name="TextBox 191">
            <a:extLst>
              <a:ext uri="{FF2B5EF4-FFF2-40B4-BE49-F238E27FC236}">
                <a16:creationId xmlns:a16="http://schemas.microsoft.com/office/drawing/2014/main" id="{45B64828-9FC9-2702-2522-E6DB334DB013}"/>
              </a:ext>
            </a:extLst>
          </p:cNvPr>
          <p:cNvSpPr txBox="1"/>
          <p:nvPr/>
        </p:nvSpPr>
        <p:spPr>
          <a:xfrm>
            <a:off x="281745" y="1032332"/>
            <a:ext cx="9566448" cy="938077"/>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4800"/>
              <a:t>Compte de résultat </a:t>
            </a:r>
          </a:p>
          <a:p>
            <a:r>
              <a:rPr lang="en-US" sz="4800"/>
              <a:t>prévisionnel</a:t>
            </a:r>
            <a:endParaRPr lang="en-GB" sz="4800" dirty="0"/>
          </a:p>
        </p:txBody>
      </p:sp>
      <p:sp>
        <p:nvSpPr>
          <p:cNvPr id="3" name="TextBox 1">
            <a:extLst>
              <a:ext uri="{FF2B5EF4-FFF2-40B4-BE49-F238E27FC236}">
                <a16:creationId xmlns:a16="http://schemas.microsoft.com/office/drawing/2014/main" id="{B4F9C414-5FCF-B1EA-B31A-91F81FA5AC3D}"/>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sp>
        <p:nvSpPr>
          <p:cNvPr id="4" name="TextBox 1">
            <a:extLst>
              <a:ext uri="{FF2B5EF4-FFF2-40B4-BE49-F238E27FC236}">
                <a16:creationId xmlns:a16="http://schemas.microsoft.com/office/drawing/2014/main" id="{E134110D-6BAC-99CA-0261-47FB9A155E21}"/>
              </a:ext>
            </a:extLst>
          </p:cNvPr>
          <p:cNvSpPr txBox="1"/>
          <p:nvPr/>
        </p:nvSpPr>
        <p:spPr>
          <a:xfrm>
            <a:off x="908648" y="407551"/>
            <a:ext cx="945772"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technique</a:t>
            </a:r>
          </a:p>
        </p:txBody>
      </p:sp>
      <p:pic>
        <p:nvPicPr>
          <p:cNvPr id="5" name="Picture 2">
            <a:extLst>
              <a:ext uri="{FF2B5EF4-FFF2-40B4-BE49-F238E27FC236}">
                <a16:creationId xmlns:a16="http://schemas.microsoft.com/office/drawing/2014/main" id="{E49E950C-ED5B-3020-71DB-B536AA4B7749}"/>
              </a:ext>
            </a:extLst>
          </p:cNvPr>
          <p:cNvPicPr>
            <a:picLocks noChangeAspect="1"/>
          </p:cNvPicPr>
          <p:nvPr/>
        </p:nvPicPr>
        <p:blipFill>
          <a:blip r:embed="rId5"/>
          <a:stretch>
            <a:fillRect/>
          </a:stretch>
        </p:blipFill>
        <p:spPr>
          <a:xfrm>
            <a:off x="500189" y="2281875"/>
            <a:ext cx="11443621" cy="4109459"/>
          </a:xfrm>
          <a:prstGeom prst="rect">
            <a:avLst/>
          </a:prstGeom>
        </p:spPr>
      </p:pic>
      <p:sp>
        <p:nvSpPr>
          <p:cNvPr id="2" name="Rectangle 1">
            <a:extLst>
              <a:ext uri="{FF2B5EF4-FFF2-40B4-BE49-F238E27FC236}">
                <a16:creationId xmlns:a16="http://schemas.microsoft.com/office/drawing/2014/main" id="{48E671CA-E108-4096-A974-90D47235A1E4}"/>
              </a:ext>
            </a:extLst>
          </p:cNvPr>
          <p:cNvSpPr/>
          <p:nvPr/>
        </p:nvSpPr>
        <p:spPr>
          <a:xfrm>
            <a:off x="11515288" y="6273225"/>
            <a:ext cx="601447" cy="584775"/>
          </a:xfrm>
          <a:prstGeom prst="rect">
            <a:avLst/>
          </a:prstGeom>
        </p:spPr>
        <p:txBody>
          <a:bodyPr wrap="none">
            <a:spAutoFit/>
          </a:bodyPr>
          <a:lstStyle/>
          <a:p>
            <a:r>
              <a:rPr lang="en-US"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29</a:t>
            </a:r>
            <a:endParaRPr lang="fr-TN" sz="3200" dirty="0"/>
          </a:p>
        </p:txBody>
      </p:sp>
    </p:spTree>
    <p:extLst>
      <p:ext uri="{BB962C8B-B14F-4D97-AF65-F5344CB8AC3E}">
        <p14:creationId xmlns:p14="http://schemas.microsoft.com/office/powerpoint/2010/main" val="248099655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37CA0D-CA77-0806-A497-2DFD2D509A90}"/>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B98F304-FF65-6861-FE86-D66212F189C8}"/>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51" name="Oval 50">
            <a:extLst>
              <a:ext uri="{FF2B5EF4-FFF2-40B4-BE49-F238E27FC236}">
                <a16:creationId xmlns:a16="http://schemas.microsoft.com/office/drawing/2014/main" id="{684973BD-F6F4-0F88-8659-A50F32E51E25}"/>
              </a:ext>
            </a:extLst>
          </p:cNvPr>
          <p:cNvSpPr/>
          <p:nvPr/>
        </p:nvSpPr>
        <p:spPr>
          <a:xfrm>
            <a:off x="5842207" y="338873"/>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2" name="Graphic 51">
            <a:extLst>
              <a:ext uri="{FF2B5EF4-FFF2-40B4-BE49-F238E27FC236}">
                <a16:creationId xmlns:a16="http://schemas.microsoft.com/office/drawing/2014/main" id="{A23A36AD-782B-DBA9-CEDC-9B7E569604E0}"/>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970000" y="467115"/>
            <a:ext cx="252000" cy="252000"/>
          </a:xfrm>
          <a:prstGeom prst="rect">
            <a:avLst/>
          </a:prstGeom>
        </p:spPr>
      </p:pic>
      <p:sp>
        <p:nvSpPr>
          <p:cNvPr id="192" name="TextBox 191">
            <a:extLst>
              <a:ext uri="{FF2B5EF4-FFF2-40B4-BE49-F238E27FC236}">
                <a16:creationId xmlns:a16="http://schemas.microsoft.com/office/drawing/2014/main" id="{F71F755B-D171-9B70-C80A-56C0D9011B21}"/>
              </a:ext>
            </a:extLst>
          </p:cNvPr>
          <p:cNvSpPr txBox="1"/>
          <p:nvPr/>
        </p:nvSpPr>
        <p:spPr>
          <a:xfrm>
            <a:off x="281745" y="969272"/>
            <a:ext cx="6408615" cy="938077"/>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800" dirty="0"/>
              <a:t>Indicateurs financiers (VAN, TRI, DRCI)</a:t>
            </a:r>
            <a:endParaRPr lang="en-GB" sz="4800" dirty="0"/>
          </a:p>
        </p:txBody>
      </p:sp>
      <p:sp>
        <p:nvSpPr>
          <p:cNvPr id="3" name="TextBox 1">
            <a:extLst>
              <a:ext uri="{FF2B5EF4-FFF2-40B4-BE49-F238E27FC236}">
                <a16:creationId xmlns:a16="http://schemas.microsoft.com/office/drawing/2014/main" id="{938AE5BF-BFC8-7E5A-68C4-A5F41B8C6F71}"/>
              </a:ext>
            </a:extLst>
          </p:cNvPr>
          <p:cNvSpPr txBox="1"/>
          <p:nvPr/>
        </p:nvSpPr>
        <p:spPr>
          <a:xfrm>
            <a:off x="299484" y="407551"/>
            <a:ext cx="548227"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ude</a:t>
            </a:r>
          </a:p>
        </p:txBody>
      </p:sp>
      <p:sp>
        <p:nvSpPr>
          <p:cNvPr id="4" name="TextBox 1">
            <a:extLst>
              <a:ext uri="{FF2B5EF4-FFF2-40B4-BE49-F238E27FC236}">
                <a16:creationId xmlns:a16="http://schemas.microsoft.com/office/drawing/2014/main" id="{B1FF8B9B-D207-C3E2-830D-B5AF80CEF7BA}"/>
              </a:ext>
            </a:extLst>
          </p:cNvPr>
          <p:cNvSpPr txBox="1"/>
          <p:nvPr/>
        </p:nvSpPr>
        <p:spPr>
          <a:xfrm>
            <a:off x="908648" y="407551"/>
            <a:ext cx="945772"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technique</a:t>
            </a:r>
          </a:p>
        </p:txBody>
      </p:sp>
      <p:grpSp>
        <p:nvGrpSpPr>
          <p:cNvPr id="2" name="Group 5">
            <a:extLst>
              <a:ext uri="{FF2B5EF4-FFF2-40B4-BE49-F238E27FC236}">
                <a16:creationId xmlns:a16="http://schemas.microsoft.com/office/drawing/2014/main" id="{E6BE37DB-7783-3787-C3A6-19DD01901EB4}"/>
              </a:ext>
            </a:extLst>
          </p:cNvPr>
          <p:cNvGrpSpPr/>
          <p:nvPr/>
        </p:nvGrpSpPr>
        <p:grpSpPr>
          <a:xfrm>
            <a:off x="4319307" y="2519425"/>
            <a:ext cx="7038319" cy="3714796"/>
            <a:chOff x="4382248" y="3849005"/>
            <a:chExt cx="2798197" cy="1476877"/>
          </a:xfrm>
        </p:grpSpPr>
        <p:sp>
          <p:nvSpPr>
            <p:cNvPr id="5" name="Freeform 2">
              <a:extLst>
                <a:ext uri="{FF2B5EF4-FFF2-40B4-BE49-F238E27FC236}">
                  <a16:creationId xmlns:a16="http://schemas.microsoft.com/office/drawing/2014/main" id="{89184BDB-245B-DF8A-E5BB-77730B02EB9A}"/>
                </a:ext>
              </a:extLst>
            </p:cNvPr>
            <p:cNvSpPr/>
            <p:nvPr/>
          </p:nvSpPr>
          <p:spPr>
            <a:xfrm>
              <a:off x="4843430" y="4313845"/>
              <a:ext cx="1407335" cy="1012037"/>
            </a:xfrm>
            <a:custGeom>
              <a:avLst/>
              <a:gdLst>
                <a:gd name="connsiteX0" fmla="*/ 124301 w 366236"/>
                <a:gd name="connsiteY0" fmla="*/ 21431 h 263366"/>
                <a:gd name="connsiteX1" fmla="*/ 21431 w 366236"/>
                <a:gd name="connsiteY1" fmla="*/ 21431 h 263366"/>
                <a:gd name="connsiteX2" fmla="*/ 21431 w 366236"/>
                <a:gd name="connsiteY2" fmla="*/ 21431 h 263366"/>
                <a:gd name="connsiteX3" fmla="*/ 21431 w 366236"/>
                <a:gd name="connsiteY3" fmla="*/ 124301 h 263366"/>
                <a:gd name="connsiteX4" fmla="*/ 160496 w 366236"/>
                <a:gd name="connsiteY4" fmla="*/ 263366 h 263366"/>
                <a:gd name="connsiteX5" fmla="*/ 366236 w 366236"/>
                <a:gd name="connsiteY5" fmla="*/ 263366 h 263366"/>
                <a:gd name="connsiteX6" fmla="*/ 124301 w 366236"/>
                <a:gd name="connsiteY6" fmla="*/ 21431 h 263366"/>
                <a:gd name="connsiteX7" fmla="*/ 71914 w 366236"/>
                <a:gd name="connsiteY7" fmla="*/ 127159 h 263366"/>
                <a:gd name="connsiteX8" fmla="*/ 16669 w 366236"/>
                <a:gd name="connsiteY8" fmla="*/ 71914 h 263366"/>
                <a:gd name="connsiteX9" fmla="*/ 71914 w 366236"/>
                <a:gd name="connsiteY9" fmla="*/ 16669 h 263366"/>
                <a:gd name="connsiteX10" fmla="*/ 127159 w 366236"/>
                <a:gd name="connsiteY10" fmla="*/ 71914 h 263366"/>
                <a:gd name="connsiteX11" fmla="*/ 71914 w 366236"/>
                <a:gd name="connsiteY11" fmla="*/ 127159 h 263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6236" h="263366">
                  <a:moveTo>
                    <a:pt x="124301" y="21431"/>
                  </a:moveTo>
                  <a:cubicBezTo>
                    <a:pt x="95726" y="-7144"/>
                    <a:pt x="50006" y="-7144"/>
                    <a:pt x="21431" y="21431"/>
                  </a:cubicBezTo>
                  <a:lnTo>
                    <a:pt x="21431" y="21431"/>
                  </a:lnTo>
                  <a:cubicBezTo>
                    <a:pt x="-7144" y="50006"/>
                    <a:pt x="-7144" y="95726"/>
                    <a:pt x="21431" y="124301"/>
                  </a:cubicBezTo>
                  <a:lnTo>
                    <a:pt x="160496" y="263366"/>
                  </a:lnTo>
                  <a:lnTo>
                    <a:pt x="366236" y="263366"/>
                  </a:lnTo>
                  <a:lnTo>
                    <a:pt x="124301" y="21431"/>
                  </a:lnTo>
                  <a:close/>
                  <a:moveTo>
                    <a:pt x="71914" y="127159"/>
                  </a:moveTo>
                  <a:cubicBezTo>
                    <a:pt x="41434" y="127159"/>
                    <a:pt x="16669" y="102394"/>
                    <a:pt x="16669" y="71914"/>
                  </a:cubicBezTo>
                  <a:cubicBezTo>
                    <a:pt x="16669" y="41434"/>
                    <a:pt x="41434" y="16669"/>
                    <a:pt x="71914" y="16669"/>
                  </a:cubicBezTo>
                  <a:cubicBezTo>
                    <a:pt x="102394" y="16669"/>
                    <a:pt x="127159" y="41434"/>
                    <a:pt x="127159" y="71914"/>
                  </a:cubicBezTo>
                  <a:cubicBezTo>
                    <a:pt x="127159" y="102394"/>
                    <a:pt x="102394" y="127159"/>
                    <a:pt x="71914" y="127159"/>
                  </a:cubicBezTo>
                  <a:close/>
                </a:path>
              </a:pathLst>
            </a:custGeom>
            <a:solidFill>
              <a:schemeClr val="accent2"/>
            </a:solidFill>
            <a:ln w="0" cap="flat">
              <a:noFill/>
              <a:prstDash val="solid"/>
              <a:miter/>
            </a:ln>
          </p:spPr>
          <p:txBody>
            <a:bodyPr rtlCol="0" anchor="ctr"/>
            <a:lstStyle/>
            <a:p>
              <a:endParaRPr lang="en-US"/>
            </a:p>
          </p:txBody>
        </p:sp>
        <p:sp>
          <p:nvSpPr>
            <p:cNvPr id="7" name="Freeform 3">
              <a:extLst>
                <a:ext uri="{FF2B5EF4-FFF2-40B4-BE49-F238E27FC236}">
                  <a16:creationId xmlns:a16="http://schemas.microsoft.com/office/drawing/2014/main" id="{7770A2D9-672F-6B58-20D4-B0FB548758C0}"/>
                </a:ext>
              </a:extLst>
            </p:cNvPr>
            <p:cNvSpPr/>
            <p:nvPr/>
          </p:nvSpPr>
          <p:spPr>
            <a:xfrm>
              <a:off x="4382248" y="4778689"/>
              <a:ext cx="942492" cy="547193"/>
            </a:xfrm>
            <a:custGeom>
              <a:avLst/>
              <a:gdLst>
                <a:gd name="connsiteX0" fmla="*/ 124301 w 245268"/>
                <a:gd name="connsiteY0" fmla="*/ 21431 h 142398"/>
                <a:gd name="connsiteX1" fmla="*/ 21431 w 245268"/>
                <a:gd name="connsiteY1" fmla="*/ 21431 h 142398"/>
                <a:gd name="connsiteX2" fmla="*/ 21431 w 245268"/>
                <a:gd name="connsiteY2" fmla="*/ 124301 h 142398"/>
                <a:gd name="connsiteX3" fmla="*/ 39529 w 245268"/>
                <a:gd name="connsiteY3" fmla="*/ 142399 h 142398"/>
                <a:gd name="connsiteX4" fmla="*/ 245269 w 245268"/>
                <a:gd name="connsiteY4" fmla="*/ 142399 h 142398"/>
                <a:gd name="connsiteX5" fmla="*/ 124301 w 245268"/>
                <a:gd name="connsiteY5" fmla="*/ 21431 h 142398"/>
                <a:gd name="connsiteX6" fmla="*/ 71914 w 245268"/>
                <a:gd name="connsiteY6" fmla="*/ 126206 h 142398"/>
                <a:gd name="connsiteX7" fmla="*/ 16669 w 245268"/>
                <a:gd name="connsiteY7" fmla="*/ 70961 h 142398"/>
                <a:gd name="connsiteX8" fmla="*/ 71914 w 245268"/>
                <a:gd name="connsiteY8" fmla="*/ 15716 h 142398"/>
                <a:gd name="connsiteX9" fmla="*/ 127159 w 245268"/>
                <a:gd name="connsiteY9" fmla="*/ 70961 h 142398"/>
                <a:gd name="connsiteX10" fmla="*/ 71914 w 245268"/>
                <a:gd name="connsiteY10" fmla="*/ 126206 h 142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5268" h="142398">
                  <a:moveTo>
                    <a:pt x="124301" y="21431"/>
                  </a:moveTo>
                  <a:cubicBezTo>
                    <a:pt x="95726" y="-7144"/>
                    <a:pt x="50006" y="-7144"/>
                    <a:pt x="21431" y="21431"/>
                  </a:cubicBezTo>
                  <a:cubicBezTo>
                    <a:pt x="-7144" y="50006"/>
                    <a:pt x="-7144" y="95726"/>
                    <a:pt x="21431" y="124301"/>
                  </a:cubicBezTo>
                  <a:lnTo>
                    <a:pt x="39529" y="142399"/>
                  </a:lnTo>
                  <a:lnTo>
                    <a:pt x="245269" y="142399"/>
                  </a:lnTo>
                  <a:lnTo>
                    <a:pt x="124301" y="21431"/>
                  </a:lnTo>
                  <a:close/>
                  <a:moveTo>
                    <a:pt x="71914" y="126206"/>
                  </a:moveTo>
                  <a:cubicBezTo>
                    <a:pt x="41434" y="126206"/>
                    <a:pt x="16669" y="101441"/>
                    <a:pt x="16669" y="70961"/>
                  </a:cubicBezTo>
                  <a:cubicBezTo>
                    <a:pt x="16669" y="40481"/>
                    <a:pt x="41434" y="15716"/>
                    <a:pt x="71914" y="15716"/>
                  </a:cubicBezTo>
                  <a:cubicBezTo>
                    <a:pt x="102394" y="15716"/>
                    <a:pt x="127159" y="40481"/>
                    <a:pt x="127159" y="70961"/>
                  </a:cubicBezTo>
                  <a:cubicBezTo>
                    <a:pt x="127159" y="101441"/>
                    <a:pt x="102394" y="126206"/>
                    <a:pt x="71914" y="126206"/>
                  </a:cubicBezTo>
                  <a:close/>
                </a:path>
              </a:pathLst>
            </a:custGeom>
            <a:solidFill>
              <a:schemeClr val="accent1"/>
            </a:solidFill>
            <a:ln w="0" cap="flat">
              <a:noFill/>
              <a:prstDash val="solid"/>
              <a:miter/>
            </a:ln>
          </p:spPr>
          <p:txBody>
            <a:bodyPr rtlCol="0" anchor="ctr"/>
            <a:lstStyle/>
            <a:p>
              <a:endParaRPr lang="en-US"/>
            </a:p>
          </p:txBody>
        </p:sp>
        <p:sp>
          <p:nvSpPr>
            <p:cNvPr id="8" name="Freeform 4">
              <a:extLst>
                <a:ext uri="{FF2B5EF4-FFF2-40B4-BE49-F238E27FC236}">
                  <a16:creationId xmlns:a16="http://schemas.microsoft.com/office/drawing/2014/main" id="{A84522F7-0F10-8678-CAD7-2AB600159298}"/>
                </a:ext>
              </a:extLst>
            </p:cNvPr>
            <p:cNvSpPr/>
            <p:nvPr/>
          </p:nvSpPr>
          <p:spPr>
            <a:xfrm>
              <a:off x="5308270" y="3849005"/>
              <a:ext cx="1872175" cy="1476877"/>
            </a:xfrm>
            <a:custGeom>
              <a:avLst/>
              <a:gdLst>
                <a:gd name="connsiteX0" fmla="*/ 124301 w 487203"/>
                <a:gd name="connsiteY0" fmla="*/ 21431 h 384333"/>
                <a:gd name="connsiteX1" fmla="*/ 21431 w 487203"/>
                <a:gd name="connsiteY1" fmla="*/ 21431 h 384333"/>
                <a:gd name="connsiteX2" fmla="*/ 21431 w 487203"/>
                <a:gd name="connsiteY2" fmla="*/ 124301 h 384333"/>
                <a:gd name="connsiteX3" fmla="*/ 281464 w 487203"/>
                <a:gd name="connsiteY3" fmla="*/ 384334 h 384333"/>
                <a:gd name="connsiteX4" fmla="*/ 487204 w 487203"/>
                <a:gd name="connsiteY4" fmla="*/ 384334 h 384333"/>
                <a:gd name="connsiteX5" fmla="*/ 124301 w 487203"/>
                <a:gd name="connsiteY5" fmla="*/ 21431 h 384333"/>
                <a:gd name="connsiteX6" fmla="*/ 71914 w 487203"/>
                <a:gd name="connsiteY6" fmla="*/ 127159 h 384333"/>
                <a:gd name="connsiteX7" fmla="*/ 16669 w 487203"/>
                <a:gd name="connsiteY7" fmla="*/ 71914 h 384333"/>
                <a:gd name="connsiteX8" fmla="*/ 71914 w 487203"/>
                <a:gd name="connsiteY8" fmla="*/ 16669 h 384333"/>
                <a:gd name="connsiteX9" fmla="*/ 127159 w 487203"/>
                <a:gd name="connsiteY9" fmla="*/ 71914 h 384333"/>
                <a:gd name="connsiteX10" fmla="*/ 71914 w 487203"/>
                <a:gd name="connsiteY10" fmla="*/ 127159 h 384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7203" h="384333">
                  <a:moveTo>
                    <a:pt x="124301" y="21431"/>
                  </a:moveTo>
                  <a:cubicBezTo>
                    <a:pt x="95726" y="-7144"/>
                    <a:pt x="50006" y="-7144"/>
                    <a:pt x="21431" y="21431"/>
                  </a:cubicBezTo>
                  <a:cubicBezTo>
                    <a:pt x="-7144" y="50006"/>
                    <a:pt x="-7144" y="95726"/>
                    <a:pt x="21431" y="124301"/>
                  </a:cubicBezTo>
                  <a:lnTo>
                    <a:pt x="281464" y="384334"/>
                  </a:lnTo>
                  <a:lnTo>
                    <a:pt x="487204" y="384334"/>
                  </a:lnTo>
                  <a:lnTo>
                    <a:pt x="124301" y="21431"/>
                  </a:lnTo>
                  <a:close/>
                  <a:moveTo>
                    <a:pt x="71914" y="127159"/>
                  </a:moveTo>
                  <a:cubicBezTo>
                    <a:pt x="41434" y="127159"/>
                    <a:pt x="16669" y="102394"/>
                    <a:pt x="16669" y="71914"/>
                  </a:cubicBezTo>
                  <a:cubicBezTo>
                    <a:pt x="16669" y="41434"/>
                    <a:pt x="41434" y="16669"/>
                    <a:pt x="71914" y="16669"/>
                  </a:cubicBezTo>
                  <a:cubicBezTo>
                    <a:pt x="102394" y="16669"/>
                    <a:pt x="127159" y="41434"/>
                    <a:pt x="127159" y="71914"/>
                  </a:cubicBezTo>
                  <a:cubicBezTo>
                    <a:pt x="127159" y="102394"/>
                    <a:pt x="102394" y="127159"/>
                    <a:pt x="71914" y="127159"/>
                  </a:cubicBezTo>
                  <a:close/>
                </a:path>
              </a:pathLst>
            </a:custGeom>
            <a:solidFill>
              <a:schemeClr val="accent5"/>
            </a:solidFill>
            <a:ln w="0" cap="flat">
              <a:noFill/>
              <a:prstDash val="solid"/>
              <a:miter/>
            </a:ln>
          </p:spPr>
          <p:txBody>
            <a:bodyPr rtlCol="0" anchor="ctr"/>
            <a:lstStyle/>
            <a:p>
              <a:endParaRPr lang="en-US"/>
            </a:p>
          </p:txBody>
        </p:sp>
      </p:grpSp>
      <p:sp>
        <p:nvSpPr>
          <p:cNvPr id="9" name="TextBox 6">
            <a:extLst>
              <a:ext uri="{FF2B5EF4-FFF2-40B4-BE49-F238E27FC236}">
                <a16:creationId xmlns:a16="http://schemas.microsoft.com/office/drawing/2014/main" id="{4817E17B-AA88-9AFD-F880-8A82BF3F5718}"/>
              </a:ext>
            </a:extLst>
          </p:cNvPr>
          <p:cNvSpPr txBox="1"/>
          <p:nvPr/>
        </p:nvSpPr>
        <p:spPr>
          <a:xfrm>
            <a:off x="4755178" y="5204269"/>
            <a:ext cx="487680" cy="646331"/>
          </a:xfrm>
          <a:prstGeom prst="rect">
            <a:avLst/>
          </a:prstGeom>
          <a:noFill/>
        </p:spPr>
        <p:txBody>
          <a:bodyPr wrap="square" lIns="0" rIns="0" rtlCol="0" anchor="ctr">
            <a:spAutoFit/>
          </a:bodyPr>
          <a:lstStyle/>
          <a:p>
            <a:pPr algn="ctr"/>
            <a:r>
              <a:rPr lang="en-US" sz="3600" b="1" noProof="1">
                <a:solidFill>
                  <a:schemeClr val="bg1"/>
                </a:solidFill>
              </a:rPr>
              <a:t>03</a:t>
            </a:r>
          </a:p>
        </p:txBody>
      </p:sp>
      <p:sp>
        <p:nvSpPr>
          <p:cNvPr id="10" name="TextBox 7">
            <a:extLst>
              <a:ext uri="{FF2B5EF4-FFF2-40B4-BE49-F238E27FC236}">
                <a16:creationId xmlns:a16="http://schemas.microsoft.com/office/drawing/2014/main" id="{3331360A-9F5E-1D6C-C509-09E0CD288467}"/>
              </a:ext>
            </a:extLst>
          </p:cNvPr>
          <p:cNvSpPr txBox="1"/>
          <p:nvPr/>
        </p:nvSpPr>
        <p:spPr>
          <a:xfrm>
            <a:off x="5896001" y="4043770"/>
            <a:ext cx="487680" cy="646331"/>
          </a:xfrm>
          <a:prstGeom prst="rect">
            <a:avLst/>
          </a:prstGeom>
          <a:noFill/>
        </p:spPr>
        <p:txBody>
          <a:bodyPr wrap="square" lIns="0" rIns="0" rtlCol="0" anchor="ctr">
            <a:spAutoFit/>
          </a:bodyPr>
          <a:lstStyle/>
          <a:p>
            <a:pPr algn="ctr"/>
            <a:r>
              <a:rPr lang="en-US" sz="3600" b="1" noProof="1">
                <a:solidFill>
                  <a:schemeClr val="bg1"/>
                </a:solidFill>
              </a:rPr>
              <a:t>02</a:t>
            </a:r>
          </a:p>
        </p:txBody>
      </p:sp>
      <p:sp>
        <p:nvSpPr>
          <p:cNvPr id="11" name="TextBox 8">
            <a:extLst>
              <a:ext uri="{FF2B5EF4-FFF2-40B4-BE49-F238E27FC236}">
                <a16:creationId xmlns:a16="http://schemas.microsoft.com/office/drawing/2014/main" id="{C69FB70E-9A0C-3C03-3A40-5FB1619C7A11}"/>
              </a:ext>
            </a:extLst>
          </p:cNvPr>
          <p:cNvSpPr txBox="1"/>
          <p:nvPr/>
        </p:nvSpPr>
        <p:spPr>
          <a:xfrm>
            <a:off x="7071658" y="2905248"/>
            <a:ext cx="487680" cy="646331"/>
          </a:xfrm>
          <a:prstGeom prst="rect">
            <a:avLst/>
          </a:prstGeom>
          <a:noFill/>
        </p:spPr>
        <p:txBody>
          <a:bodyPr wrap="square" lIns="0" rIns="0" rtlCol="0" anchor="ctr">
            <a:spAutoFit/>
          </a:bodyPr>
          <a:lstStyle/>
          <a:p>
            <a:pPr algn="ctr"/>
            <a:r>
              <a:rPr lang="en-US" sz="3600" b="1" noProof="1">
                <a:solidFill>
                  <a:schemeClr val="bg1"/>
                </a:solidFill>
              </a:rPr>
              <a:t>01</a:t>
            </a:r>
          </a:p>
        </p:txBody>
      </p:sp>
      <p:sp>
        <p:nvSpPr>
          <p:cNvPr id="12" name="TextBox 9">
            <a:extLst>
              <a:ext uri="{FF2B5EF4-FFF2-40B4-BE49-F238E27FC236}">
                <a16:creationId xmlns:a16="http://schemas.microsoft.com/office/drawing/2014/main" id="{DC52CA6A-9323-9436-3428-72FE165C64F1}"/>
              </a:ext>
            </a:extLst>
          </p:cNvPr>
          <p:cNvSpPr txBox="1"/>
          <p:nvPr/>
        </p:nvSpPr>
        <p:spPr>
          <a:xfrm>
            <a:off x="908648" y="2530251"/>
            <a:ext cx="1252322" cy="584775"/>
          </a:xfrm>
          <a:prstGeom prst="rect">
            <a:avLst/>
          </a:prstGeom>
          <a:noFill/>
        </p:spPr>
        <p:txBody>
          <a:bodyPr wrap="square" lIns="0" rIns="0" rtlCol="0" anchor="t">
            <a:spAutoFit/>
          </a:bodyPr>
          <a:lstStyle/>
          <a:p>
            <a:r>
              <a:rPr lang="en-US" sz="3200" b="1" cap="all" noProof="1">
                <a:solidFill>
                  <a:srgbClr val="FD6364"/>
                </a:solidFill>
              </a:rPr>
              <a:t>VAN</a:t>
            </a:r>
            <a:endParaRPr lang="en-US" sz="3200" b="1" noProof="1">
              <a:solidFill>
                <a:srgbClr val="FD6364"/>
              </a:solidFill>
            </a:endParaRPr>
          </a:p>
        </p:txBody>
      </p:sp>
      <p:sp>
        <p:nvSpPr>
          <p:cNvPr id="13" name="TextBox 10">
            <a:extLst>
              <a:ext uri="{FF2B5EF4-FFF2-40B4-BE49-F238E27FC236}">
                <a16:creationId xmlns:a16="http://schemas.microsoft.com/office/drawing/2014/main" id="{96084513-B1E6-98CE-9490-A21CC69D9C00}"/>
              </a:ext>
            </a:extLst>
          </p:cNvPr>
          <p:cNvSpPr txBox="1"/>
          <p:nvPr/>
        </p:nvSpPr>
        <p:spPr>
          <a:xfrm>
            <a:off x="908648" y="4906043"/>
            <a:ext cx="1252322" cy="584775"/>
          </a:xfrm>
          <a:prstGeom prst="rect">
            <a:avLst/>
          </a:prstGeom>
          <a:noFill/>
        </p:spPr>
        <p:txBody>
          <a:bodyPr wrap="square" lIns="0" rIns="0" rtlCol="0" anchor="t">
            <a:spAutoFit/>
          </a:bodyPr>
          <a:lstStyle/>
          <a:p>
            <a:r>
              <a:rPr lang="en-US" sz="3200" b="1" cap="all" noProof="1">
                <a:solidFill>
                  <a:srgbClr val="00FFB3"/>
                </a:solidFill>
              </a:rPr>
              <a:t>DRCI</a:t>
            </a:r>
          </a:p>
        </p:txBody>
      </p:sp>
      <p:sp>
        <p:nvSpPr>
          <p:cNvPr id="17" name="TextBox 16">
            <a:extLst>
              <a:ext uri="{FF2B5EF4-FFF2-40B4-BE49-F238E27FC236}">
                <a16:creationId xmlns:a16="http://schemas.microsoft.com/office/drawing/2014/main" id="{E104E857-BEF4-61D8-9FBB-BFFA98CBC4E2}"/>
              </a:ext>
            </a:extLst>
          </p:cNvPr>
          <p:cNvSpPr txBox="1"/>
          <p:nvPr/>
        </p:nvSpPr>
        <p:spPr>
          <a:xfrm>
            <a:off x="898138" y="3552584"/>
            <a:ext cx="1252322" cy="584775"/>
          </a:xfrm>
          <a:prstGeom prst="rect">
            <a:avLst/>
          </a:prstGeom>
          <a:noFill/>
        </p:spPr>
        <p:txBody>
          <a:bodyPr wrap="square" lIns="0" rIns="0" rtlCol="0" anchor="t">
            <a:spAutoFit/>
          </a:bodyPr>
          <a:lstStyle/>
          <a:p>
            <a:r>
              <a:rPr lang="en-US" sz="3200" b="1" cap="all" noProof="1">
                <a:solidFill>
                  <a:srgbClr val="00F1FF"/>
                </a:solidFill>
              </a:rPr>
              <a:t>TRI</a:t>
            </a:r>
            <a:endParaRPr lang="en-US" sz="3200" b="1" noProof="1">
              <a:solidFill>
                <a:srgbClr val="00F1FF"/>
              </a:solidFill>
            </a:endParaRPr>
          </a:p>
        </p:txBody>
      </p:sp>
      <p:sp>
        <p:nvSpPr>
          <p:cNvPr id="18" name="TextBox 17">
            <a:extLst>
              <a:ext uri="{FF2B5EF4-FFF2-40B4-BE49-F238E27FC236}">
                <a16:creationId xmlns:a16="http://schemas.microsoft.com/office/drawing/2014/main" id="{86B26746-CEA5-4C41-3FE9-F996BB234E93}"/>
              </a:ext>
            </a:extLst>
          </p:cNvPr>
          <p:cNvSpPr txBox="1"/>
          <p:nvPr/>
        </p:nvSpPr>
        <p:spPr>
          <a:xfrm>
            <a:off x="908648" y="3092212"/>
            <a:ext cx="2964479" cy="400110"/>
          </a:xfrm>
          <a:prstGeom prst="rect">
            <a:avLst/>
          </a:prstGeom>
          <a:noFill/>
        </p:spPr>
        <p:txBody>
          <a:bodyPr wrap="square" lIns="0" rIns="0" rtlCol="0" anchor="t">
            <a:spAutoFit/>
          </a:bodyPr>
          <a:lstStyle/>
          <a:p>
            <a:r>
              <a:rPr lang="en-US" sz="2000" noProof="1">
                <a:solidFill>
                  <a:schemeClr val="bg1"/>
                </a:solidFill>
              </a:rPr>
              <a:t>45 056 08 DT</a:t>
            </a:r>
          </a:p>
        </p:txBody>
      </p:sp>
      <p:sp>
        <p:nvSpPr>
          <p:cNvPr id="19" name="TextBox 18">
            <a:extLst>
              <a:ext uri="{FF2B5EF4-FFF2-40B4-BE49-F238E27FC236}">
                <a16:creationId xmlns:a16="http://schemas.microsoft.com/office/drawing/2014/main" id="{EDAF7649-1AC7-6FAB-83B0-4539168649C1}"/>
              </a:ext>
            </a:extLst>
          </p:cNvPr>
          <p:cNvSpPr txBox="1"/>
          <p:nvPr/>
        </p:nvSpPr>
        <p:spPr>
          <a:xfrm>
            <a:off x="908648" y="4188122"/>
            <a:ext cx="2964479" cy="400110"/>
          </a:xfrm>
          <a:prstGeom prst="rect">
            <a:avLst/>
          </a:prstGeom>
          <a:noFill/>
        </p:spPr>
        <p:txBody>
          <a:bodyPr wrap="square" lIns="0" rIns="0" rtlCol="0" anchor="t">
            <a:spAutoFit/>
          </a:bodyPr>
          <a:lstStyle/>
          <a:p>
            <a:r>
              <a:rPr lang="en-US" sz="2000" noProof="1">
                <a:solidFill>
                  <a:schemeClr val="bg1"/>
                </a:solidFill>
              </a:rPr>
              <a:t>23,89%</a:t>
            </a:r>
          </a:p>
        </p:txBody>
      </p:sp>
      <p:sp>
        <p:nvSpPr>
          <p:cNvPr id="20" name="TextBox 19">
            <a:extLst>
              <a:ext uri="{FF2B5EF4-FFF2-40B4-BE49-F238E27FC236}">
                <a16:creationId xmlns:a16="http://schemas.microsoft.com/office/drawing/2014/main" id="{02FC1C68-815E-FBBC-D7CE-5ED210475DFD}"/>
              </a:ext>
            </a:extLst>
          </p:cNvPr>
          <p:cNvSpPr txBox="1"/>
          <p:nvPr/>
        </p:nvSpPr>
        <p:spPr>
          <a:xfrm>
            <a:off x="908648" y="5583621"/>
            <a:ext cx="2964479" cy="400110"/>
          </a:xfrm>
          <a:prstGeom prst="rect">
            <a:avLst/>
          </a:prstGeom>
          <a:noFill/>
        </p:spPr>
        <p:txBody>
          <a:bodyPr wrap="square" lIns="0" rIns="0" rtlCol="0" anchor="t">
            <a:spAutoFit/>
          </a:bodyPr>
          <a:lstStyle/>
          <a:p>
            <a:r>
              <a:rPr lang="fr-FR" sz="2000" noProof="1">
                <a:solidFill>
                  <a:schemeClr val="bg1"/>
                </a:solidFill>
              </a:rPr>
              <a:t>3 ans, 8 mois et 23 jours</a:t>
            </a:r>
            <a:endParaRPr lang="en-US" sz="2000" noProof="1">
              <a:solidFill>
                <a:schemeClr val="bg1"/>
              </a:solidFill>
            </a:endParaRPr>
          </a:p>
        </p:txBody>
      </p:sp>
      <p:cxnSp>
        <p:nvCxnSpPr>
          <p:cNvPr id="26" name="Straight Connector 25">
            <a:extLst>
              <a:ext uri="{FF2B5EF4-FFF2-40B4-BE49-F238E27FC236}">
                <a16:creationId xmlns:a16="http://schemas.microsoft.com/office/drawing/2014/main" id="{85208154-71CA-3BF8-3FCD-386C01EE69F5}"/>
              </a:ext>
            </a:extLst>
          </p:cNvPr>
          <p:cNvCxnSpPr>
            <a:cxnSpLocks/>
          </p:cNvCxnSpPr>
          <p:nvPr/>
        </p:nvCxnSpPr>
        <p:spPr>
          <a:xfrm>
            <a:off x="2236122" y="3216115"/>
            <a:ext cx="4275908"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F4E3549-916A-E428-845D-51C9F5F1CEC1}"/>
              </a:ext>
            </a:extLst>
          </p:cNvPr>
          <p:cNvCxnSpPr>
            <a:cxnSpLocks/>
          </p:cNvCxnSpPr>
          <p:nvPr/>
        </p:nvCxnSpPr>
        <p:spPr>
          <a:xfrm>
            <a:off x="2236122" y="5521642"/>
            <a:ext cx="2002971"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196639E-AD01-5477-70E6-5A4C95803C6F}"/>
              </a:ext>
            </a:extLst>
          </p:cNvPr>
          <p:cNvCxnSpPr>
            <a:cxnSpLocks/>
          </p:cNvCxnSpPr>
          <p:nvPr/>
        </p:nvCxnSpPr>
        <p:spPr>
          <a:xfrm>
            <a:off x="2236122" y="4319859"/>
            <a:ext cx="3143794"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40B094D2-A1D8-44BA-8934-70E924BE281B}"/>
              </a:ext>
            </a:extLst>
          </p:cNvPr>
          <p:cNvSpPr/>
          <p:nvPr/>
        </p:nvSpPr>
        <p:spPr>
          <a:xfrm>
            <a:off x="11484808" y="6273601"/>
            <a:ext cx="601447" cy="584775"/>
          </a:xfrm>
          <a:prstGeom prst="rect">
            <a:avLst/>
          </a:prstGeom>
        </p:spPr>
        <p:txBody>
          <a:bodyPr wrap="none">
            <a:spAutoFit/>
          </a:bodyPr>
          <a:lstStyle/>
          <a:p>
            <a:r>
              <a:rPr lang="en-US"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30</a:t>
            </a:r>
            <a:endParaRPr lang="fr-TN" sz="3200" dirty="0"/>
          </a:p>
        </p:txBody>
      </p:sp>
    </p:spTree>
    <p:extLst>
      <p:ext uri="{BB962C8B-B14F-4D97-AF65-F5344CB8AC3E}">
        <p14:creationId xmlns:p14="http://schemas.microsoft.com/office/powerpoint/2010/main" val="331822157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34">
            <a:extLst>
              <a:ext uri="{FF2B5EF4-FFF2-40B4-BE49-F238E27FC236}">
                <a16:creationId xmlns:a16="http://schemas.microsoft.com/office/drawing/2014/main" id="{D99C78EF-5605-AD43-8CB5-8271CC4EF451}"/>
              </a:ext>
            </a:extLst>
          </p:cNvPr>
          <p:cNvSpPr txBox="1"/>
          <p:nvPr/>
        </p:nvSpPr>
        <p:spPr>
          <a:xfrm>
            <a:off x="1162497" y="1837345"/>
            <a:ext cx="9867006" cy="3532634"/>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3800" b="0" i="0" u="none" strike="noStrike" kern="0" cap="none" spc="0" normalizeH="0" baseline="0" noProof="0" dirty="0">
                <a:ln>
                  <a:noFill/>
                </a:ln>
                <a:solidFill>
                  <a:prstClr val="white"/>
                </a:solidFill>
                <a:effectLst/>
                <a:uLnTx/>
                <a:uFillTx/>
                <a:latin typeface="Darker Grotesque" pitchFamily="2" charset="0"/>
              </a:rPr>
              <a:t>Conclusion et perspectives </a:t>
            </a:r>
          </a:p>
        </p:txBody>
      </p:sp>
    </p:spTree>
    <p:extLst>
      <p:ext uri="{BB962C8B-B14F-4D97-AF65-F5344CB8AC3E}">
        <p14:creationId xmlns:p14="http://schemas.microsoft.com/office/powerpoint/2010/main" val="3234984323"/>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TextBox 56">
            <a:extLst>
              <a:ext uri="{FF2B5EF4-FFF2-40B4-BE49-F238E27FC236}">
                <a16:creationId xmlns:a16="http://schemas.microsoft.com/office/drawing/2014/main" id="{B7DA55A9-15D3-CBAE-4D50-B8FA3382D6E6}"/>
              </a:ext>
            </a:extLst>
          </p:cNvPr>
          <p:cNvSpPr txBox="1"/>
          <p:nvPr/>
        </p:nvSpPr>
        <p:spPr>
          <a:xfrm>
            <a:off x="281745" y="969272"/>
            <a:ext cx="4307507" cy="494879"/>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lvl="0">
              <a:defRPr/>
            </a:pPr>
            <a:r>
              <a:rPr lang="en-US" sz="4800" dirty="0"/>
              <a:t>Conclusion </a:t>
            </a:r>
          </a:p>
        </p:txBody>
      </p:sp>
      <p:cxnSp>
        <p:nvCxnSpPr>
          <p:cNvPr id="98" name="Straight Connector 110">
            <a:extLst>
              <a:ext uri="{FF2B5EF4-FFF2-40B4-BE49-F238E27FC236}">
                <a16:creationId xmlns:a16="http://schemas.microsoft.com/office/drawing/2014/main" id="{7DDCF2C4-7F3D-A81F-18EC-86DD7018B606}"/>
              </a:ext>
            </a:extLst>
          </p:cNvPr>
          <p:cNvCxnSpPr>
            <a:cxnSpLocks/>
          </p:cNvCxnSpPr>
          <p:nvPr/>
        </p:nvCxnSpPr>
        <p:spPr>
          <a:xfrm>
            <a:off x="6096000" y="1126385"/>
            <a:ext cx="0" cy="5373046"/>
          </a:xfrm>
          <a:prstGeom prst="line">
            <a:avLst/>
          </a:prstGeom>
          <a:ln w="57150" cap="rnd">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99" name="Shape">
            <a:extLst>
              <a:ext uri="{FF2B5EF4-FFF2-40B4-BE49-F238E27FC236}">
                <a16:creationId xmlns:a16="http://schemas.microsoft.com/office/drawing/2014/main" id="{8A82CF42-C290-DC3B-4CB4-714E27F5F1F4}"/>
              </a:ext>
            </a:extLst>
          </p:cNvPr>
          <p:cNvSpPr/>
          <p:nvPr/>
        </p:nvSpPr>
        <p:spPr>
          <a:xfrm>
            <a:off x="8854643" y="1458268"/>
            <a:ext cx="1422352" cy="1422352"/>
          </a:xfrm>
          <a:custGeom>
            <a:avLst/>
            <a:gdLst/>
            <a:ahLst/>
            <a:cxnLst>
              <a:cxn ang="0">
                <a:pos x="wd2" y="hd2"/>
              </a:cxn>
              <a:cxn ang="5400000">
                <a:pos x="wd2" y="hd2"/>
              </a:cxn>
              <a:cxn ang="10800000">
                <a:pos x="wd2" y="hd2"/>
              </a:cxn>
              <a:cxn ang="16200000">
                <a:pos x="wd2" y="hd2"/>
              </a:cxn>
            </a:cxnLst>
            <a:rect l="0" t="0" r="r" b="b"/>
            <a:pathLst>
              <a:path w="21600" h="21600" extrusionOk="0">
                <a:moveTo>
                  <a:pt x="17760" y="21600"/>
                </a:moveTo>
                <a:lnTo>
                  <a:pt x="3840" y="21600"/>
                </a:lnTo>
                <a:cubicBezTo>
                  <a:pt x="1728" y="21600"/>
                  <a:pt x="0" y="19872"/>
                  <a:pt x="0" y="17760"/>
                </a:cubicBezTo>
                <a:lnTo>
                  <a:pt x="0" y="3840"/>
                </a:lnTo>
                <a:cubicBezTo>
                  <a:pt x="0" y="1728"/>
                  <a:pt x="1728" y="0"/>
                  <a:pt x="3840" y="0"/>
                </a:cubicBezTo>
                <a:lnTo>
                  <a:pt x="17760" y="0"/>
                </a:lnTo>
                <a:cubicBezTo>
                  <a:pt x="19872" y="0"/>
                  <a:pt x="21600" y="1728"/>
                  <a:pt x="21600" y="3840"/>
                </a:cubicBezTo>
                <a:lnTo>
                  <a:pt x="21600" y="17760"/>
                </a:lnTo>
                <a:cubicBezTo>
                  <a:pt x="21576" y="19872"/>
                  <a:pt x="19872" y="21600"/>
                  <a:pt x="17760" y="21600"/>
                </a:cubicBezTo>
                <a:close/>
              </a:path>
            </a:pathLst>
          </a:custGeom>
          <a:solidFill>
            <a:schemeClr val="accent4"/>
          </a:solidFill>
          <a:ln w="12700">
            <a:miter lim="400000"/>
          </a:ln>
          <a:effectLst/>
        </p:spPr>
        <p:txBody>
          <a:bodyPr lIns="38100" tIns="38100" rIns="38100" bIns="38100" anchor="ctr"/>
          <a:lstStyle/>
          <a:p>
            <a:endParaRPr sz="3000" kern="0" dirty="0">
              <a:solidFill>
                <a:srgbClr val="FFFFFF"/>
              </a:solidFill>
            </a:endParaRPr>
          </a:p>
        </p:txBody>
      </p:sp>
      <p:sp>
        <p:nvSpPr>
          <p:cNvPr id="100" name="Shape">
            <a:extLst>
              <a:ext uri="{FF2B5EF4-FFF2-40B4-BE49-F238E27FC236}">
                <a16:creationId xmlns:a16="http://schemas.microsoft.com/office/drawing/2014/main" id="{2B4EE7F1-39F5-7996-381A-7690A056441E}"/>
              </a:ext>
            </a:extLst>
          </p:cNvPr>
          <p:cNvSpPr/>
          <p:nvPr/>
        </p:nvSpPr>
        <p:spPr>
          <a:xfrm>
            <a:off x="6016118" y="2090423"/>
            <a:ext cx="2710422" cy="660606"/>
          </a:xfrm>
          <a:custGeom>
            <a:avLst/>
            <a:gdLst/>
            <a:ahLst/>
            <a:cxnLst>
              <a:cxn ang="0">
                <a:pos x="wd2" y="hd2"/>
              </a:cxn>
              <a:cxn ang="5400000">
                <a:pos x="wd2" y="hd2"/>
              </a:cxn>
              <a:cxn ang="10800000">
                <a:pos x="wd2" y="hd2"/>
              </a:cxn>
              <a:cxn ang="16200000">
                <a:pos x="wd2" y="hd2"/>
              </a:cxn>
            </a:cxnLst>
            <a:rect l="0" t="0" r="r" b="b"/>
            <a:pathLst>
              <a:path w="21588" h="21600" extrusionOk="0">
                <a:moveTo>
                  <a:pt x="21008" y="0"/>
                </a:moveTo>
                <a:cubicBezTo>
                  <a:pt x="20744" y="0"/>
                  <a:pt x="20530" y="672"/>
                  <a:pt x="20455" y="1654"/>
                </a:cubicBezTo>
                <a:lnTo>
                  <a:pt x="7024" y="1654"/>
                </a:lnTo>
                <a:cubicBezTo>
                  <a:pt x="5463" y="1654"/>
                  <a:pt x="3990" y="4134"/>
                  <a:pt x="2883" y="8681"/>
                </a:cubicBezTo>
                <a:lnTo>
                  <a:pt x="856" y="17001"/>
                </a:lnTo>
                <a:cubicBezTo>
                  <a:pt x="780" y="16846"/>
                  <a:pt x="692" y="16743"/>
                  <a:pt x="592" y="16743"/>
                </a:cubicBezTo>
                <a:cubicBezTo>
                  <a:pt x="264" y="16743"/>
                  <a:pt x="0" y="17828"/>
                  <a:pt x="0" y="19171"/>
                </a:cubicBezTo>
                <a:cubicBezTo>
                  <a:pt x="0" y="20515"/>
                  <a:pt x="264" y="21600"/>
                  <a:pt x="592" y="21600"/>
                </a:cubicBezTo>
                <a:cubicBezTo>
                  <a:pt x="919" y="21600"/>
                  <a:pt x="1183" y="20515"/>
                  <a:pt x="1183" y="19171"/>
                </a:cubicBezTo>
                <a:cubicBezTo>
                  <a:pt x="1183" y="18810"/>
                  <a:pt x="1158" y="18448"/>
                  <a:pt x="1120" y="18086"/>
                </a:cubicBezTo>
                <a:lnTo>
                  <a:pt x="3147" y="9767"/>
                </a:lnTo>
                <a:cubicBezTo>
                  <a:pt x="4179" y="5529"/>
                  <a:pt x="5551" y="3204"/>
                  <a:pt x="7011" y="3204"/>
                </a:cubicBezTo>
                <a:lnTo>
                  <a:pt x="20442" y="3204"/>
                </a:lnTo>
                <a:cubicBezTo>
                  <a:pt x="20518" y="4134"/>
                  <a:pt x="20744" y="4857"/>
                  <a:pt x="20996" y="4857"/>
                </a:cubicBezTo>
                <a:cubicBezTo>
                  <a:pt x="21323" y="4857"/>
                  <a:pt x="21587" y="3772"/>
                  <a:pt x="21587" y="2429"/>
                </a:cubicBezTo>
                <a:cubicBezTo>
                  <a:pt x="21600" y="1085"/>
                  <a:pt x="21336" y="0"/>
                  <a:pt x="21008" y="0"/>
                </a:cubicBezTo>
                <a:close/>
              </a:path>
            </a:pathLst>
          </a:custGeom>
          <a:solidFill>
            <a:schemeClr val="accent4"/>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endParaRPr>
          </a:p>
        </p:txBody>
      </p:sp>
      <p:sp>
        <p:nvSpPr>
          <p:cNvPr id="101" name="Shape">
            <a:extLst>
              <a:ext uri="{FF2B5EF4-FFF2-40B4-BE49-F238E27FC236}">
                <a16:creationId xmlns:a16="http://schemas.microsoft.com/office/drawing/2014/main" id="{0C63312F-AEF8-E1EE-5C3D-86B75DE84F1B}"/>
              </a:ext>
            </a:extLst>
          </p:cNvPr>
          <p:cNvSpPr/>
          <p:nvPr/>
        </p:nvSpPr>
        <p:spPr>
          <a:xfrm>
            <a:off x="6000315" y="3876264"/>
            <a:ext cx="2710422" cy="660606"/>
          </a:xfrm>
          <a:custGeom>
            <a:avLst/>
            <a:gdLst/>
            <a:ahLst/>
            <a:cxnLst>
              <a:cxn ang="0">
                <a:pos x="wd2" y="hd2"/>
              </a:cxn>
              <a:cxn ang="5400000">
                <a:pos x="wd2" y="hd2"/>
              </a:cxn>
              <a:cxn ang="10800000">
                <a:pos x="wd2" y="hd2"/>
              </a:cxn>
              <a:cxn ang="16200000">
                <a:pos x="wd2" y="hd2"/>
              </a:cxn>
            </a:cxnLst>
            <a:rect l="0" t="0" r="r" b="b"/>
            <a:pathLst>
              <a:path w="21588" h="21600" extrusionOk="0">
                <a:moveTo>
                  <a:pt x="21008" y="0"/>
                </a:moveTo>
                <a:cubicBezTo>
                  <a:pt x="20744" y="0"/>
                  <a:pt x="20530" y="672"/>
                  <a:pt x="20455" y="1654"/>
                </a:cubicBezTo>
                <a:lnTo>
                  <a:pt x="7024" y="1654"/>
                </a:lnTo>
                <a:cubicBezTo>
                  <a:pt x="5463" y="1654"/>
                  <a:pt x="3990" y="4134"/>
                  <a:pt x="2883" y="8681"/>
                </a:cubicBezTo>
                <a:lnTo>
                  <a:pt x="856" y="17001"/>
                </a:lnTo>
                <a:cubicBezTo>
                  <a:pt x="780" y="16846"/>
                  <a:pt x="692" y="16743"/>
                  <a:pt x="592" y="16743"/>
                </a:cubicBezTo>
                <a:cubicBezTo>
                  <a:pt x="264" y="16743"/>
                  <a:pt x="0" y="17828"/>
                  <a:pt x="0" y="19171"/>
                </a:cubicBezTo>
                <a:cubicBezTo>
                  <a:pt x="0" y="20515"/>
                  <a:pt x="264" y="21600"/>
                  <a:pt x="592" y="21600"/>
                </a:cubicBezTo>
                <a:cubicBezTo>
                  <a:pt x="919" y="21600"/>
                  <a:pt x="1183" y="20515"/>
                  <a:pt x="1183" y="19171"/>
                </a:cubicBezTo>
                <a:cubicBezTo>
                  <a:pt x="1183" y="18810"/>
                  <a:pt x="1158" y="18448"/>
                  <a:pt x="1120" y="18086"/>
                </a:cubicBezTo>
                <a:lnTo>
                  <a:pt x="3147" y="9767"/>
                </a:lnTo>
                <a:cubicBezTo>
                  <a:pt x="4179" y="5529"/>
                  <a:pt x="5551" y="3204"/>
                  <a:pt x="7011" y="3204"/>
                </a:cubicBezTo>
                <a:lnTo>
                  <a:pt x="20442" y="3204"/>
                </a:lnTo>
                <a:cubicBezTo>
                  <a:pt x="20518" y="4134"/>
                  <a:pt x="20744" y="4857"/>
                  <a:pt x="20996" y="4857"/>
                </a:cubicBezTo>
                <a:cubicBezTo>
                  <a:pt x="21323" y="4857"/>
                  <a:pt x="21587" y="3772"/>
                  <a:pt x="21587" y="2429"/>
                </a:cubicBezTo>
                <a:cubicBezTo>
                  <a:pt x="21600" y="1085"/>
                  <a:pt x="21336" y="0"/>
                  <a:pt x="21008" y="0"/>
                </a:cubicBezTo>
                <a:close/>
              </a:path>
            </a:pathLst>
          </a:custGeom>
          <a:solidFill>
            <a:schemeClr val="accent2"/>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endParaRPr>
          </a:p>
        </p:txBody>
      </p:sp>
      <p:sp>
        <p:nvSpPr>
          <p:cNvPr id="102" name="Shape">
            <a:extLst>
              <a:ext uri="{FF2B5EF4-FFF2-40B4-BE49-F238E27FC236}">
                <a16:creationId xmlns:a16="http://schemas.microsoft.com/office/drawing/2014/main" id="{C9AE2502-CA92-85AA-F292-413E773382C1}"/>
              </a:ext>
            </a:extLst>
          </p:cNvPr>
          <p:cNvSpPr/>
          <p:nvPr/>
        </p:nvSpPr>
        <p:spPr>
          <a:xfrm>
            <a:off x="3455884" y="3101873"/>
            <a:ext cx="2710424" cy="660606"/>
          </a:xfrm>
          <a:custGeom>
            <a:avLst/>
            <a:gdLst/>
            <a:ahLst/>
            <a:cxnLst>
              <a:cxn ang="0">
                <a:pos x="wd2" y="hd2"/>
              </a:cxn>
              <a:cxn ang="5400000">
                <a:pos x="wd2" y="hd2"/>
              </a:cxn>
              <a:cxn ang="10800000">
                <a:pos x="wd2" y="hd2"/>
              </a:cxn>
              <a:cxn ang="16200000">
                <a:pos x="wd2" y="hd2"/>
              </a:cxn>
            </a:cxnLst>
            <a:rect l="0" t="0" r="r" b="b"/>
            <a:pathLst>
              <a:path w="21588" h="21600" extrusionOk="0">
                <a:moveTo>
                  <a:pt x="580" y="0"/>
                </a:moveTo>
                <a:cubicBezTo>
                  <a:pt x="844" y="0"/>
                  <a:pt x="1058" y="672"/>
                  <a:pt x="1133" y="1654"/>
                </a:cubicBezTo>
                <a:lnTo>
                  <a:pt x="14564" y="1654"/>
                </a:lnTo>
                <a:cubicBezTo>
                  <a:pt x="16125" y="1654"/>
                  <a:pt x="17598" y="4134"/>
                  <a:pt x="18705" y="8681"/>
                </a:cubicBezTo>
                <a:lnTo>
                  <a:pt x="20732" y="17001"/>
                </a:lnTo>
                <a:cubicBezTo>
                  <a:pt x="20808" y="16846"/>
                  <a:pt x="20896" y="16743"/>
                  <a:pt x="20996" y="16743"/>
                </a:cubicBezTo>
                <a:cubicBezTo>
                  <a:pt x="21324" y="16743"/>
                  <a:pt x="21588" y="17828"/>
                  <a:pt x="21588" y="19171"/>
                </a:cubicBezTo>
                <a:cubicBezTo>
                  <a:pt x="21588" y="20515"/>
                  <a:pt x="21324" y="21600"/>
                  <a:pt x="20996" y="21600"/>
                </a:cubicBezTo>
                <a:cubicBezTo>
                  <a:pt x="20669" y="21600"/>
                  <a:pt x="20405" y="20515"/>
                  <a:pt x="20405" y="19171"/>
                </a:cubicBezTo>
                <a:cubicBezTo>
                  <a:pt x="20405" y="18810"/>
                  <a:pt x="20430" y="18448"/>
                  <a:pt x="20468" y="18086"/>
                </a:cubicBezTo>
                <a:lnTo>
                  <a:pt x="18441" y="9767"/>
                </a:lnTo>
                <a:cubicBezTo>
                  <a:pt x="17409" y="5529"/>
                  <a:pt x="16037" y="3204"/>
                  <a:pt x="14577" y="3204"/>
                </a:cubicBezTo>
                <a:lnTo>
                  <a:pt x="1146" y="3204"/>
                </a:lnTo>
                <a:cubicBezTo>
                  <a:pt x="1071" y="4134"/>
                  <a:pt x="844" y="4857"/>
                  <a:pt x="592" y="4857"/>
                </a:cubicBezTo>
                <a:cubicBezTo>
                  <a:pt x="265" y="4857"/>
                  <a:pt x="1" y="3772"/>
                  <a:pt x="1" y="2429"/>
                </a:cubicBezTo>
                <a:cubicBezTo>
                  <a:pt x="-12" y="1085"/>
                  <a:pt x="252" y="0"/>
                  <a:pt x="580" y="0"/>
                </a:cubicBezTo>
                <a:close/>
              </a:path>
            </a:pathLst>
          </a:custGeom>
          <a:solidFill>
            <a:schemeClr val="accent1"/>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endParaRPr>
          </a:p>
        </p:txBody>
      </p:sp>
      <p:sp>
        <p:nvSpPr>
          <p:cNvPr id="103" name="Shape">
            <a:extLst>
              <a:ext uri="{FF2B5EF4-FFF2-40B4-BE49-F238E27FC236}">
                <a16:creationId xmlns:a16="http://schemas.microsoft.com/office/drawing/2014/main" id="{74880297-904A-CC64-E385-37F094B45CF7}"/>
              </a:ext>
            </a:extLst>
          </p:cNvPr>
          <p:cNvSpPr/>
          <p:nvPr/>
        </p:nvSpPr>
        <p:spPr>
          <a:xfrm>
            <a:off x="3455884" y="4887714"/>
            <a:ext cx="2710424" cy="660606"/>
          </a:xfrm>
          <a:custGeom>
            <a:avLst/>
            <a:gdLst/>
            <a:ahLst/>
            <a:cxnLst>
              <a:cxn ang="0">
                <a:pos x="wd2" y="hd2"/>
              </a:cxn>
              <a:cxn ang="5400000">
                <a:pos x="wd2" y="hd2"/>
              </a:cxn>
              <a:cxn ang="10800000">
                <a:pos x="wd2" y="hd2"/>
              </a:cxn>
              <a:cxn ang="16200000">
                <a:pos x="wd2" y="hd2"/>
              </a:cxn>
            </a:cxnLst>
            <a:rect l="0" t="0" r="r" b="b"/>
            <a:pathLst>
              <a:path w="21588" h="21600" extrusionOk="0">
                <a:moveTo>
                  <a:pt x="580" y="0"/>
                </a:moveTo>
                <a:cubicBezTo>
                  <a:pt x="844" y="0"/>
                  <a:pt x="1058" y="672"/>
                  <a:pt x="1133" y="1654"/>
                </a:cubicBezTo>
                <a:lnTo>
                  <a:pt x="14564" y="1654"/>
                </a:lnTo>
                <a:cubicBezTo>
                  <a:pt x="16125" y="1654"/>
                  <a:pt x="17598" y="4134"/>
                  <a:pt x="18705" y="8681"/>
                </a:cubicBezTo>
                <a:lnTo>
                  <a:pt x="20732" y="17001"/>
                </a:lnTo>
                <a:cubicBezTo>
                  <a:pt x="20808" y="16846"/>
                  <a:pt x="20896" y="16743"/>
                  <a:pt x="20996" y="16743"/>
                </a:cubicBezTo>
                <a:cubicBezTo>
                  <a:pt x="21324" y="16743"/>
                  <a:pt x="21588" y="17828"/>
                  <a:pt x="21588" y="19171"/>
                </a:cubicBezTo>
                <a:cubicBezTo>
                  <a:pt x="21588" y="20515"/>
                  <a:pt x="21324" y="21600"/>
                  <a:pt x="20996" y="21600"/>
                </a:cubicBezTo>
                <a:cubicBezTo>
                  <a:pt x="20669" y="21600"/>
                  <a:pt x="20405" y="20515"/>
                  <a:pt x="20405" y="19171"/>
                </a:cubicBezTo>
                <a:cubicBezTo>
                  <a:pt x="20405" y="18810"/>
                  <a:pt x="20430" y="18448"/>
                  <a:pt x="20468" y="18086"/>
                </a:cubicBezTo>
                <a:lnTo>
                  <a:pt x="18441" y="9767"/>
                </a:lnTo>
                <a:cubicBezTo>
                  <a:pt x="17409" y="5529"/>
                  <a:pt x="16037" y="3204"/>
                  <a:pt x="14577" y="3204"/>
                </a:cubicBezTo>
                <a:lnTo>
                  <a:pt x="1146" y="3204"/>
                </a:lnTo>
                <a:cubicBezTo>
                  <a:pt x="1071" y="4134"/>
                  <a:pt x="844" y="4857"/>
                  <a:pt x="592" y="4857"/>
                </a:cubicBezTo>
                <a:cubicBezTo>
                  <a:pt x="265" y="4857"/>
                  <a:pt x="1" y="3772"/>
                  <a:pt x="1" y="2429"/>
                </a:cubicBezTo>
                <a:cubicBezTo>
                  <a:pt x="-12" y="1085"/>
                  <a:pt x="252" y="0"/>
                  <a:pt x="580" y="0"/>
                </a:cubicBezTo>
                <a:close/>
              </a:path>
            </a:pathLst>
          </a:custGeom>
          <a:solidFill>
            <a:schemeClr val="accent5"/>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endParaRPr>
          </a:p>
        </p:txBody>
      </p:sp>
      <p:sp>
        <p:nvSpPr>
          <p:cNvPr id="104" name="Shape">
            <a:extLst>
              <a:ext uri="{FF2B5EF4-FFF2-40B4-BE49-F238E27FC236}">
                <a16:creationId xmlns:a16="http://schemas.microsoft.com/office/drawing/2014/main" id="{B191EA2F-DA48-7EB7-31AD-EA5CC05493DC}"/>
              </a:ext>
            </a:extLst>
          </p:cNvPr>
          <p:cNvSpPr/>
          <p:nvPr/>
        </p:nvSpPr>
        <p:spPr>
          <a:xfrm>
            <a:off x="1915005" y="2469718"/>
            <a:ext cx="1422352" cy="1422352"/>
          </a:xfrm>
          <a:custGeom>
            <a:avLst/>
            <a:gdLst/>
            <a:ahLst/>
            <a:cxnLst>
              <a:cxn ang="0">
                <a:pos x="wd2" y="hd2"/>
              </a:cxn>
              <a:cxn ang="5400000">
                <a:pos x="wd2" y="hd2"/>
              </a:cxn>
              <a:cxn ang="10800000">
                <a:pos x="wd2" y="hd2"/>
              </a:cxn>
              <a:cxn ang="16200000">
                <a:pos x="wd2" y="hd2"/>
              </a:cxn>
            </a:cxnLst>
            <a:rect l="0" t="0" r="r" b="b"/>
            <a:pathLst>
              <a:path w="21600" h="21600" extrusionOk="0">
                <a:moveTo>
                  <a:pt x="3840" y="21600"/>
                </a:moveTo>
                <a:lnTo>
                  <a:pt x="17760" y="21600"/>
                </a:lnTo>
                <a:cubicBezTo>
                  <a:pt x="19872" y="21600"/>
                  <a:pt x="21600" y="19872"/>
                  <a:pt x="21600" y="17760"/>
                </a:cubicBezTo>
                <a:lnTo>
                  <a:pt x="21600" y="3840"/>
                </a:lnTo>
                <a:cubicBezTo>
                  <a:pt x="21600" y="1728"/>
                  <a:pt x="19872" y="0"/>
                  <a:pt x="17760" y="0"/>
                </a:cubicBezTo>
                <a:lnTo>
                  <a:pt x="3840" y="0"/>
                </a:lnTo>
                <a:cubicBezTo>
                  <a:pt x="1728" y="0"/>
                  <a:pt x="0" y="1728"/>
                  <a:pt x="0" y="3840"/>
                </a:cubicBezTo>
                <a:lnTo>
                  <a:pt x="0" y="17760"/>
                </a:lnTo>
                <a:cubicBezTo>
                  <a:pt x="0" y="19872"/>
                  <a:pt x="1728" y="21600"/>
                  <a:pt x="3840" y="21600"/>
                </a:cubicBezTo>
                <a:close/>
              </a:path>
            </a:pathLst>
          </a:custGeom>
          <a:solidFill>
            <a:schemeClr val="accent1"/>
          </a:solidFill>
          <a:ln w="12700">
            <a:miter lim="400000"/>
          </a:ln>
          <a:effectLst/>
        </p:spPr>
        <p:txBody>
          <a:bodyPr lIns="38100" tIns="38100" rIns="38100" bIns="38100" anchor="ctr"/>
          <a:lstStyle/>
          <a:p>
            <a:endParaRPr sz="3000" kern="0">
              <a:solidFill>
                <a:srgbClr val="FFFFFF"/>
              </a:solidFill>
            </a:endParaRPr>
          </a:p>
        </p:txBody>
      </p:sp>
      <p:pic>
        <p:nvPicPr>
          <p:cNvPr id="105" name="Graphic 117">
            <a:extLst>
              <a:ext uri="{FF2B5EF4-FFF2-40B4-BE49-F238E27FC236}">
                <a16:creationId xmlns:a16="http://schemas.microsoft.com/office/drawing/2014/main" id="{CE93035E-A2CE-D72F-FE91-04A0C4FF33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2104210" y="2658270"/>
            <a:ext cx="1043941" cy="1045246"/>
          </a:xfrm>
          <a:prstGeom prst="rect">
            <a:avLst/>
          </a:prstGeom>
        </p:spPr>
      </p:pic>
      <p:sp>
        <p:nvSpPr>
          <p:cNvPr id="106" name="Shape">
            <a:extLst>
              <a:ext uri="{FF2B5EF4-FFF2-40B4-BE49-F238E27FC236}">
                <a16:creationId xmlns:a16="http://schemas.microsoft.com/office/drawing/2014/main" id="{3D40146A-81A1-A763-D3B0-469A021FAC0C}"/>
              </a:ext>
            </a:extLst>
          </p:cNvPr>
          <p:cNvSpPr/>
          <p:nvPr/>
        </p:nvSpPr>
        <p:spPr>
          <a:xfrm>
            <a:off x="8837116" y="3228306"/>
            <a:ext cx="1422352" cy="1422352"/>
          </a:xfrm>
          <a:custGeom>
            <a:avLst/>
            <a:gdLst/>
            <a:ahLst/>
            <a:cxnLst>
              <a:cxn ang="0">
                <a:pos x="wd2" y="hd2"/>
              </a:cxn>
              <a:cxn ang="5400000">
                <a:pos x="wd2" y="hd2"/>
              </a:cxn>
              <a:cxn ang="10800000">
                <a:pos x="wd2" y="hd2"/>
              </a:cxn>
              <a:cxn ang="16200000">
                <a:pos x="wd2" y="hd2"/>
              </a:cxn>
            </a:cxnLst>
            <a:rect l="0" t="0" r="r" b="b"/>
            <a:pathLst>
              <a:path w="21600" h="21600" extrusionOk="0">
                <a:moveTo>
                  <a:pt x="17760" y="21600"/>
                </a:moveTo>
                <a:lnTo>
                  <a:pt x="3840" y="21600"/>
                </a:lnTo>
                <a:cubicBezTo>
                  <a:pt x="1728" y="21600"/>
                  <a:pt x="0" y="19872"/>
                  <a:pt x="0" y="17760"/>
                </a:cubicBezTo>
                <a:lnTo>
                  <a:pt x="0" y="3840"/>
                </a:lnTo>
                <a:cubicBezTo>
                  <a:pt x="0" y="1728"/>
                  <a:pt x="1728" y="0"/>
                  <a:pt x="3840" y="0"/>
                </a:cubicBezTo>
                <a:lnTo>
                  <a:pt x="17760" y="0"/>
                </a:lnTo>
                <a:cubicBezTo>
                  <a:pt x="19872" y="0"/>
                  <a:pt x="21600" y="1728"/>
                  <a:pt x="21600" y="3840"/>
                </a:cubicBezTo>
                <a:lnTo>
                  <a:pt x="21600" y="17760"/>
                </a:lnTo>
                <a:cubicBezTo>
                  <a:pt x="21576" y="19896"/>
                  <a:pt x="19872" y="21600"/>
                  <a:pt x="17760" y="21600"/>
                </a:cubicBezTo>
                <a:close/>
              </a:path>
            </a:pathLst>
          </a:custGeom>
          <a:solidFill>
            <a:schemeClr val="accent2"/>
          </a:solidFill>
          <a:ln w="12700">
            <a:miter lim="400000"/>
          </a:ln>
          <a:effectLst/>
        </p:spPr>
        <p:txBody>
          <a:bodyPr lIns="38100" tIns="38100" rIns="38100" bIns="38100" anchor="ctr"/>
          <a:lstStyle/>
          <a:p>
            <a:endParaRPr sz="3000" kern="0">
              <a:solidFill>
                <a:srgbClr val="FFFFFF"/>
              </a:solidFill>
            </a:endParaRPr>
          </a:p>
        </p:txBody>
      </p:sp>
      <p:pic>
        <p:nvPicPr>
          <p:cNvPr id="107" name="Graphic 119">
            <a:extLst>
              <a:ext uri="{FF2B5EF4-FFF2-40B4-BE49-F238E27FC236}">
                <a16:creationId xmlns:a16="http://schemas.microsoft.com/office/drawing/2014/main" id="{FE4E5E2F-0122-3F70-A8E1-1311ACAAC2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9105714" y="3469415"/>
            <a:ext cx="1043941" cy="1045246"/>
          </a:xfrm>
          <a:prstGeom prst="rect">
            <a:avLst/>
          </a:prstGeom>
        </p:spPr>
      </p:pic>
      <p:sp>
        <p:nvSpPr>
          <p:cNvPr id="108" name="Shape">
            <a:extLst>
              <a:ext uri="{FF2B5EF4-FFF2-40B4-BE49-F238E27FC236}">
                <a16:creationId xmlns:a16="http://schemas.microsoft.com/office/drawing/2014/main" id="{019B22C3-C3EB-8C09-94D8-1AF627CD1752}"/>
              </a:ext>
            </a:extLst>
          </p:cNvPr>
          <p:cNvSpPr/>
          <p:nvPr/>
        </p:nvSpPr>
        <p:spPr>
          <a:xfrm>
            <a:off x="1915005" y="4255559"/>
            <a:ext cx="1422352" cy="1422352"/>
          </a:xfrm>
          <a:custGeom>
            <a:avLst/>
            <a:gdLst/>
            <a:ahLst/>
            <a:cxnLst>
              <a:cxn ang="0">
                <a:pos x="wd2" y="hd2"/>
              </a:cxn>
              <a:cxn ang="5400000">
                <a:pos x="wd2" y="hd2"/>
              </a:cxn>
              <a:cxn ang="10800000">
                <a:pos x="wd2" y="hd2"/>
              </a:cxn>
              <a:cxn ang="16200000">
                <a:pos x="wd2" y="hd2"/>
              </a:cxn>
            </a:cxnLst>
            <a:rect l="0" t="0" r="r" b="b"/>
            <a:pathLst>
              <a:path w="21600" h="21600" extrusionOk="0">
                <a:moveTo>
                  <a:pt x="3840" y="21600"/>
                </a:moveTo>
                <a:lnTo>
                  <a:pt x="17760" y="21600"/>
                </a:lnTo>
                <a:cubicBezTo>
                  <a:pt x="19872" y="21600"/>
                  <a:pt x="21600" y="19872"/>
                  <a:pt x="21600" y="17760"/>
                </a:cubicBezTo>
                <a:lnTo>
                  <a:pt x="21600" y="3840"/>
                </a:lnTo>
                <a:cubicBezTo>
                  <a:pt x="21600" y="1728"/>
                  <a:pt x="19872" y="0"/>
                  <a:pt x="17760" y="0"/>
                </a:cubicBezTo>
                <a:lnTo>
                  <a:pt x="3840" y="0"/>
                </a:lnTo>
                <a:cubicBezTo>
                  <a:pt x="1728" y="0"/>
                  <a:pt x="0" y="1728"/>
                  <a:pt x="0" y="3840"/>
                </a:cubicBezTo>
                <a:lnTo>
                  <a:pt x="0" y="17760"/>
                </a:lnTo>
                <a:cubicBezTo>
                  <a:pt x="0" y="19872"/>
                  <a:pt x="1728" y="21600"/>
                  <a:pt x="3840" y="21600"/>
                </a:cubicBezTo>
                <a:close/>
              </a:path>
            </a:pathLst>
          </a:custGeom>
          <a:solidFill>
            <a:schemeClr val="accent5"/>
          </a:solidFill>
          <a:ln w="12700">
            <a:miter lim="400000"/>
          </a:ln>
          <a:effectLst/>
        </p:spPr>
        <p:txBody>
          <a:bodyPr lIns="38100" tIns="38100" rIns="38100" bIns="38100" anchor="ctr"/>
          <a:lstStyle/>
          <a:p>
            <a:endParaRPr sz="3000" kern="0">
              <a:solidFill>
                <a:srgbClr val="FFFFFF"/>
              </a:solidFill>
            </a:endParaRPr>
          </a:p>
        </p:txBody>
      </p:sp>
      <p:pic>
        <p:nvPicPr>
          <p:cNvPr id="109" name="Graphic 121">
            <a:extLst>
              <a:ext uri="{FF2B5EF4-FFF2-40B4-BE49-F238E27FC236}">
                <a16:creationId xmlns:a16="http://schemas.microsoft.com/office/drawing/2014/main" id="{0EA506FB-E8DE-5EBD-29EB-462E04432ED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01482" y="4444112"/>
            <a:ext cx="1043941" cy="1045246"/>
          </a:xfrm>
          <a:prstGeom prst="rect">
            <a:avLst/>
          </a:prstGeom>
        </p:spPr>
      </p:pic>
      <p:grpSp>
        <p:nvGrpSpPr>
          <p:cNvPr id="110" name="Group 122">
            <a:extLst>
              <a:ext uri="{FF2B5EF4-FFF2-40B4-BE49-F238E27FC236}">
                <a16:creationId xmlns:a16="http://schemas.microsoft.com/office/drawing/2014/main" id="{86E74E96-0C2A-9D02-AC19-0707C3997E33}"/>
              </a:ext>
            </a:extLst>
          </p:cNvPr>
          <p:cNvGrpSpPr/>
          <p:nvPr/>
        </p:nvGrpSpPr>
        <p:grpSpPr>
          <a:xfrm>
            <a:off x="3628745" y="3282850"/>
            <a:ext cx="2072277" cy="1234140"/>
            <a:chOff x="319755" y="4306100"/>
            <a:chExt cx="2088993" cy="1155024"/>
          </a:xfrm>
        </p:grpSpPr>
        <p:sp>
          <p:nvSpPr>
            <p:cNvPr id="136" name="TextBox 123">
              <a:extLst>
                <a:ext uri="{FF2B5EF4-FFF2-40B4-BE49-F238E27FC236}">
                  <a16:creationId xmlns:a16="http://schemas.microsoft.com/office/drawing/2014/main" id="{B1015EE4-D510-B249-4E80-A1ED01330344}"/>
                </a:ext>
              </a:extLst>
            </p:cNvPr>
            <p:cNvSpPr txBox="1"/>
            <p:nvPr/>
          </p:nvSpPr>
          <p:spPr>
            <a:xfrm>
              <a:off x="319755" y="4306100"/>
              <a:ext cx="2088993" cy="604897"/>
            </a:xfrm>
            <a:prstGeom prst="rect">
              <a:avLst/>
            </a:prstGeom>
            <a:noFill/>
          </p:spPr>
          <p:txBody>
            <a:bodyPr wrap="square" lIns="0" rtlCol="0" anchor="b">
              <a:spAutoFit/>
            </a:bodyPr>
            <a:lstStyle/>
            <a:p>
              <a:pPr lvl="0">
                <a:defRPr/>
              </a:pPr>
              <a:r>
                <a:rPr lang="fr-FR" dirty="0">
                  <a:solidFill>
                    <a:schemeClr val="accent1"/>
                  </a:solidFill>
                </a:rPr>
                <a:t>Une plateforme complète</a:t>
              </a:r>
              <a:endParaRPr kumimoji="0" lang="en-US" sz="2000" b="1" i="0" u="none" strike="noStrike" kern="0" cap="none" spc="0" normalizeH="0" baseline="0" noProof="1">
                <a:ln>
                  <a:noFill/>
                </a:ln>
                <a:solidFill>
                  <a:schemeClr val="accent1"/>
                </a:solidFill>
                <a:effectLst/>
                <a:uLnTx/>
                <a:uFillTx/>
              </a:endParaRPr>
            </a:p>
          </p:txBody>
        </p:sp>
        <p:sp>
          <p:nvSpPr>
            <p:cNvPr id="205" name="Rectangle 204">
              <a:extLst>
                <a:ext uri="{FF2B5EF4-FFF2-40B4-BE49-F238E27FC236}">
                  <a16:creationId xmlns:a16="http://schemas.microsoft.com/office/drawing/2014/main" id="{9DDB7B7A-2C56-763C-0BF3-5D797B1A5F4F}"/>
                </a:ext>
              </a:extLst>
            </p:cNvPr>
            <p:cNvSpPr/>
            <p:nvPr/>
          </p:nvSpPr>
          <p:spPr>
            <a:xfrm>
              <a:off x="319755" y="4856227"/>
              <a:ext cx="2088993" cy="604897"/>
            </a:xfrm>
            <a:prstGeom prst="rect">
              <a:avLst/>
            </a:prstGeom>
          </p:spPr>
          <p:txBody>
            <a:bodyPr wrap="square" lIns="0">
              <a:spAutoFit/>
            </a:bodyPr>
            <a:lstStyle/>
            <a:p>
              <a:pPr lvl="0">
                <a:spcBef>
                  <a:spcPts val="1200"/>
                </a:spcBef>
                <a:defRPr/>
              </a:pPr>
              <a:r>
                <a:rPr lang="fr-FR" sz="1200" kern="0" noProof="1">
                  <a:solidFill>
                    <a:schemeClr val="bg1"/>
                  </a:solidFill>
                </a:rPr>
                <a:t>Utilisation possible depuis n’importe quel appareil, à tout moment</a:t>
              </a:r>
              <a:endParaRPr kumimoji="0" lang="en-US" sz="1200" b="0" i="0" u="none" strike="noStrike" kern="0" cap="none" spc="0" normalizeH="0" baseline="0" noProof="1">
                <a:ln>
                  <a:noFill/>
                </a:ln>
                <a:solidFill>
                  <a:schemeClr val="bg1"/>
                </a:solidFill>
                <a:effectLst/>
                <a:uLnTx/>
                <a:uFillTx/>
              </a:endParaRPr>
            </a:p>
          </p:txBody>
        </p:sp>
      </p:grpSp>
      <p:grpSp>
        <p:nvGrpSpPr>
          <p:cNvPr id="206" name="Group 125">
            <a:extLst>
              <a:ext uri="{FF2B5EF4-FFF2-40B4-BE49-F238E27FC236}">
                <a16:creationId xmlns:a16="http://schemas.microsoft.com/office/drawing/2014/main" id="{7027F28D-21B4-AFEA-C31E-F4135249BF1B}"/>
              </a:ext>
            </a:extLst>
          </p:cNvPr>
          <p:cNvGrpSpPr/>
          <p:nvPr/>
        </p:nvGrpSpPr>
        <p:grpSpPr>
          <a:xfrm>
            <a:off x="6646310" y="2330917"/>
            <a:ext cx="2072278" cy="1367347"/>
            <a:chOff x="319755" y="4435978"/>
            <a:chExt cx="2088994" cy="1279691"/>
          </a:xfrm>
        </p:grpSpPr>
        <p:sp>
          <p:nvSpPr>
            <p:cNvPr id="207" name="TextBox 126">
              <a:extLst>
                <a:ext uri="{FF2B5EF4-FFF2-40B4-BE49-F238E27FC236}">
                  <a16:creationId xmlns:a16="http://schemas.microsoft.com/office/drawing/2014/main" id="{004D438A-F0AF-5D6F-7250-048591BDD53B}"/>
                </a:ext>
              </a:extLst>
            </p:cNvPr>
            <p:cNvSpPr txBox="1"/>
            <p:nvPr/>
          </p:nvSpPr>
          <p:spPr>
            <a:xfrm>
              <a:off x="319755" y="4435978"/>
              <a:ext cx="2088993" cy="345656"/>
            </a:xfrm>
            <a:prstGeom prst="rect">
              <a:avLst/>
            </a:prstGeom>
            <a:noFill/>
          </p:spPr>
          <p:txBody>
            <a:bodyPr wrap="square" lIns="0" rtlCol="0" anchor="b">
              <a:spAutoFit/>
            </a:bodyPr>
            <a:lstStyle/>
            <a:p>
              <a:pPr lvl="0" algn="r">
                <a:defRPr/>
              </a:pPr>
              <a:r>
                <a:rPr lang="fr-FR" dirty="0">
                  <a:solidFill>
                    <a:schemeClr val="accent4"/>
                  </a:solidFill>
                </a:rPr>
                <a:t>Un modèle rentable</a:t>
              </a:r>
              <a:endParaRPr kumimoji="0" lang="en-US" sz="2000" b="1" i="0" u="none" strike="noStrike" kern="0" cap="none" spc="0" normalizeH="0" baseline="0" noProof="1">
                <a:ln>
                  <a:noFill/>
                </a:ln>
                <a:solidFill>
                  <a:schemeClr val="accent4"/>
                </a:solidFill>
                <a:effectLst/>
                <a:uLnTx/>
                <a:uFillTx/>
              </a:endParaRPr>
            </a:p>
          </p:txBody>
        </p:sp>
        <p:sp>
          <p:nvSpPr>
            <p:cNvPr id="208" name="Rectangle 207">
              <a:extLst>
                <a:ext uri="{FF2B5EF4-FFF2-40B4-BE49-F238E27FC236}">
                  <a16:creationId xmlns:a16="http://schemas.microsoft.com/office/drawing/2014/main" id="{178324A2-9310-79F1-6A61-F034DABCD4A1}"/>
                </a:ext>
              </a:extLst>
            </p:cNvPr>
            <p:cNvSpPr/>
            <p:nvPr/>
          </p:nvSpPr>
          <p:spPr>
            <a:xfrm>
              <a:off x="319756" y="4765116"/>
              <a:ext cx="2088993" cy="950553"/>
            </a:xfrm>
            <a:prstGeom prst="rect">
              <a:avLst/>
            </a:prstGeom>
          </p:spPr>
          <p:txBody>
            <a:bodyPr wrap="square" lIns="0">
              <a:spAutoFit/>
            </a:bodyPr>
            <a:lstStyle/>
            <a:p>
              <a:pPr lvl="0" algn="r">
                <a:spcBef>
                  <a:spcPts val="1200"/>
                </a:spcBef>
                <a:defRPr/>
              </a:pPr>
              <a:r>
                <a:rPr lang="fr-FR" sz="1200" dirty="0">
                  <a:solidFill>
                    <a:schemeClr val="bg1"/>
                  </a:solidFill>
                </a:rPr>
                <a:t>L’étude financière confirme la viabilité du projet avec une VAN positive, un TRI de 23,89 % et un retour sur investissement en 3 ans et 8 mois</a:t>
              </a:r>
              <a:endParaRPr kumimoji="0" lang="en-US" sz="1000" b="0" i="0" u="none" strike="noStrike" kern="0" cap="none" spc="0" normalizeH="0" baseline="0" noProof="1">
                <a:ln>
                  <a:noFill/>
                </a:ln>
                <a:solidFill>
                  <a:schemeClr val="bg1"/>
                </a:solidFill>
                <a:effectLst/>
                <a:uLnTx/>
                <a:uFillTx/>
              </a:endParaRPr>
            </a:p>
          </p:txBody>
        </p:sp>
      </p:grpSp>
      <p:grpSp>
        <p:nvGrpSpPr>
          <p:cNvPr id="209" name="Group 128">
            <a:extLst>
              <a:ext uri="{FF2B5EF4-FFF2-40B4-BE49-F238E27FC236}">
                <a16:creationId xmlns:a16="http://schemas.microsoft.com/office/drawing/2014/main" id="{A1E99F9E-04D0-A90B-E7FF-D3102F97B41F}"/>
              </a:ext>
            </a:extLst>
          </p:cNvPr>
          <p:cNvGrpSpPr/>
          <p:nvPr/>
        </p:nvGrpSpPr>
        <p:grpSpPr>
          <a:xfrm>
            <a:off x="3628745" y="5179950"/>
            <a:ext cx="2072278" cy="1367346"/>
            <a:chOff x="319755" y="4435978"/>
            <a:chExt cx="2088994" cy="1279690"/>
          </a:xfrm>
        </p:grpSpPr>
        <p:sp>
          <p:nvSpPr>
            <p:cNvPr id="210" name="TextBox 129">
              <a:extLst>
                <a:ext uri="{FF2B5EF4-FFF2-40B4-BE49-F238E27FC236}">
                  <a16:creationId xmlns:a16="http://schemas.microsoft.com/office/drawing/2014/main" id="{1D428F34-EA7A-BCEC-508E-F003D7B172C8}"/>
                </a:ext>
              </a:extLst>
            </p:cNvPr>
            <p:cNvSpPr txBox="1"/>
            <p:nvPr/>
          </p:nvSpPr>
          <p:spPr>
            <a:xfrm>
              <a:off x="319755" y="4435978"/>
              <a:ext cx="2088993" cy="345655"/>
            </a:xfrm>
            <a:prstGeom prst="rect">
              <a:avLst/>
            </a:prstGeom>
            <a:noFill/>
          </p:spPr>
          <p:txBody>
            <a:bodyPr wrap="square" lIns="0" rtlCol="0" anchor="b">
              <a:spAutoFit/>
            </a:bodyPr>
            <a:lstStyle/>
            <a:p>
              <a:pPr lvl="0">
                <a:defRPr/>
              </a:pPr>
              <a:r>
                <a:rPr lang="fr-FR" dirty="0">
                  <a:solidFill>
                    <a:schemeClr val="accent5"/>
                  </a:solidFill>
                </a:rPr>
                <a:t>Une solution validée</a:t>
              </a:r>
              <a:endParaRPr kumimoji="0" lang="en-US" sz="2000" b="1" i="0" u="none" strike="noStrike" kern="0" cap="none" spc="0" normalizeH="0" baseline="0" noProof="1">
                <a:ln>
                  <a:noFill/>
                </a:ln>
                <a:solidFill>
                  <a:schemeClr val="accent5"/>
                </a:solidFill>
                <a:effectLst/>
                <a:uLnTx/>
                <a:uFillTx/>
              </a:endParaRPr>
            </a:p>
          </p:txBody>
        </p:sp>
        <p:sp>
          <p:nvSpPr>
            <p:cNvPr id="211" name="Rectangle 210">
              <a:extLst>
                <a:ext uri="{FF2B5EF4-FFF2-40B4-BE49-F238E27FC236}">
                  <a16:creationId xmlns:a16="http://schemas.microsoft.com/office/drawing/2014/main" id="{6660725C-33E7-8469-5CAA-CDDF015D3841}"/>
                </a:ext>
              </a:extLst>
            </p:cNvPr>
            <p:cNvSpPr/>
            <p:nvPr/>
          </p:nvSpPr>
          <p:spPr>
            <a:xfrm>
              <a:off x="319756" y="4765116"/>
              <a:ext cx="2088993" cy="950552"/>
            </a:xfrm>
            <a:prstGeom prst="rect">
              <a:avLst/>
            </a:prstGeom>
          </p:spPr>
          <p:txBody>
            <a:bodyPr wrap="square" lIns="0">
              <a:spAutoFit/>
            </a:bodyPr>
            <a:lstStyle/>
            <a:p>
              <a:pPr lvl="0">
                <a:spcBef>
                  <a:spcPts val="1200"/>
                </a:spcBef>
                <a:defRPr/>
              </a:pPr>
              <a:r>
                <a:rPr lang="fr-FR" sz="1200" dirty="0">
                  <a:solidFill>
                    <a:schemeClr val="bg1"/>
                  </a:solidFill>
                </a:rPr>
                <a:t>L’étude de marché révèle une forte demande, tant du côté des vacanciers que des prestataires en quête de visibilité</a:t>
              </a:r>
              <a:endParaRPr kumimoji="0" lang="en-US" sz="1000" b="0" i="0" u="none" strike="noStrike" kern="0" cap="none" spc="0" normalizeH="0" baseline="0" noProof="1">
                <a:ln>
                  <a:noFill/>
                </a:ln>
                <a:solidFill>
                  <a:schemeClr val="bg1"/>
                </a:solidFill>
                <a:effectLst/>
                <a:uLnTx/>
                <a:uFillTx/>
              </a:endParaRPr>
            </a:p>
          </p:txBody>
        </p:sp>
      </p:grpSp>
      <p:grpSp>
        <p:nvGrpSpPr>
          <p:cNvPr id="212" name="Group 131">
            <a:extLst>
              <a:ext uri="{FF2B5EF4-FFF2-40B4-BE49-F238E27FC236}">
                <a16:creationId xmlns:a16="http://schemas.microsoft.com/office/drawing/2014/main" id="{A129B7D3-4833-B3D0-686E-952CC1483E2E}"/>
              </a:ext>
            </a:extLst>
          </p:cNvPr>
          <p:cNvGrpSpPr/>
          <p:nvPr/>
        </p:nvGrpSpPr>
        <p:grpSpPr>
          <a:xfrm>
            <a:off x="6646310" y="4188655"/>
            <a:ext cx="2072278" cy="1367348"/>
            <a:chOff x="319755" y="4176735"/>
            <a:chExt cx="2088994" cy="1279692"/>
          </a:xfrm>
        </p:grpSpPr>
        <p:sp>
          <p:nvSpPr>
            <p:cNvPr id="213" name="TextBox 132">
              <a:extLst>
                <a:ext uri="{FF2B5EF4-FFF2-40B4-BE49-F238E27FC236}">
                  <a16:creationId xmlns:a16="http://schemas.microsoft.com/office/drawing/2014/main" id="{A9B210C0-BC62-5AAA-672F-9F35C98DDEF4}"/>
                </a:ext>
              </a:extLst>
            </p:cNvPr>
            <p:cNvSpPr txBox="1"/>
            <p:nvPr/>
          </p:nvSpPr>
          <p:spPr>
            <a:xfrm>
              <a:off x="319755" y="4176735"/>
              <a:ext cx="2088993" cy="604897"/>
            </a:xfrm>
            <a:prstGeom prst="rect">
              <a:avLst/>
            </a:prstGeom>
            <a:noFill/>
          </p:spPr>
          <p:txBody>
            <a:bodyPr wrap="square" lIns="0" rtlCol="0" anchor="b">
              <a:spAutoFit/>
            </a:bodyPr>
            <a:lstStyle/>
            <a:p>
              <a:pPr lvl="0" algn="r">
                <a:defRPr/>
              </a:pPr>
              <a:r>
                <a:rPr lang="fr-FR" dirty="0">
                  <a:solidFill>
                    <a:schemeClr val="accent2"/>
                  </a:solidFill>
                </a:rPr>
                <a:t>Une base technique solide</a:t>
              </a:r>
              <a:endParaRPr kumimoji="0" lang="en-US" sz="2000" b="1" i="0" u="none" strike="noStrike" kern="0" cap="none" spc="0" normalizeH="0" baseline="0" noProof="1">
                <a:ln>
                  <a:noFill/>
                </a:ln>
                <a:solidFill>
                  <a:schemeClr val="accent2"/>
                </a:solidFill>
                <a:effectLst/>
                <a:uLnTx/>
                <a:uFillTx/>
              </a:endParaRPr>
            </a:p>
          </p:txBody>
        </p:sp>
        <p:sp>
          <p:nvSpPr>
            <p:cNvPr id="214" name="Rectangle 213">
              <a:extLst>
                <a:ext uri="{FF2B5EF4-FFF2-40B4-BE49-F238E27FC236}">
                  <a16:creationId xmlns:a16="http://schemas.microsoft.com/office/drawing/2014/main" id="{75179F5A-30C0-35AB-445A-6F7DE6AD2DD4}"/>
                </a:ext>
              </a:extLst>
            </p:cNvPr>
            <p:cNvSpPr/>
            <p:nvPr/>
          </p:nvSpPr>
          <p:spPr>
            <a:xfrm>
              <a:off x="319756" y="4765116"/>
              <a:ext cx="2088993" cy="691311"/>
            </a:xfrm>
            <a:prstGeom prst="rect">
              <a:avLst/>
            </a:prstGeom>
          </p:spPr>
          <p:txBody>
            <a:bodyPr wrap="square" lIns="0">
              <a:spAutoFit/>
            </a:bodyPr>
            <a:lstStyle/>
            <a:p>
              <a:pPr lvl="0" algn="r">
                <a:spcBef>
                  <a:spcPts val="1200"/>
                </a:spcBef>
                <a:defRPr/>
              </a:pPr>
              <a:r>
                <a:rPr lang="fr-FR" sz="1400" dirty="0">
                  <a:solidFill>
                    <a:schemeClr val="bg1"/>
                  </a:solidFill>
                </a:rPr>
                <a:t>Flutter et </a:t>
              </a:r>
              <a:r>
                <a:rPr lang="fr-FR" sz="1400" dirty="0" err="1">
                  <a:solidFill>
                    <a:schemeClr val="bg1"/>
                  </a:solidFill>
                </a:rPr>
                <a:t>Firebase</a:t>
              </a:r>
              <a:r>
                <a:rPr lang="fr-FR" sz="1400" dirty="0">
                  <a:solidFill>
                    <a:schemeClr val="bg1"/>
                  </a:solidFill>
                </a:rPr>
                <a:t> assurent performance, évolutivité et expérience fluide.</a:t>
              </a:r>
              <a:endParaRPr kumimoji="0" lang="en-US" sz="1050" b="0" i="0" u="none" strike="noStrike" kern="0" cap="none" spc="0" normalizeH="0" baseline="0" noProof="1">
                <a:ln>
                  <a:noFill/>
                </a:ln>
                <a:solidFill>
                  <a:schemeClr val="bg1"/>
                </a:solidFill>
                <a:effectLst/>
                <a:uLnTx/>
                <a:uFillTx/>
              </a:endParaRPr>
            </a:p>
          </p:txBody>
        </p:sp>
      </p:grpSp>
      <p:sp>
        <p:nvSpPr>
          <p:cNvPr id="216" name="TextBox 136">
            <a:extLst>
              <a:ext uri="{FF2B5EF4-FFF2-40B4-BE49-F238E27FC236}">
                <a16:creationId xmlns:a16="http://schemas.microsoft.com/office/drawing/2014/main" id="{2BC9DEA3-BC39-FE62-E6CF-5D4263541AB5}"/>
              </a:ext>
            </a:extLst>
          </p:cNvPr>
          <p:cNvSpPr txBox="1"/>
          <p:nvPr/>
        </p:nvSpPr>
        <p:spPr>
          <a:xfrm>
            <a:off x="299484" y="407551"/>
            <a:ext cx="1078821"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Conclusion </a:t>
            </a:r>
          </a:p>
        </p:txBody>
      </p:sp>
      <p:cxnSp>
        <p:nvCxnSpPr>
          <p:cNvPr id="217" name="Straight Connector 137">
            <a:extLst>
              <a:ext uri="{FF2B5EF4-FFF2-40B4-BE49-F238E27FC236}">
                <a16:creationId xmlns:a16="http://schemas.microsoft.com/office/drawing/2014/main" id="{D9C55C58-A68E-A480-6AF7-6B7CBB754CBF}"/>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218" name="Oval 138">
            <a:extLst>
              <a:ext uri="{FF2B5EF4-FFF2-40B4-BE49-F238E27FC236}">
                <a16:creationId xmlns:a16="http://schemas.microsoft.com/office/drawing/2014/main" id="{39B5B2C0-9F98-5556-1178-95223689C3A8}"/>
              </a:ext>
            </a:extLst>
          </p:cNvPr>
          <p:cNvSpPr/>
          <p:nvPr/>
        </p:nvSpPr>
        <p:spPr>
          <a:xfrm>
            <a:off x="5842207" y="338873"/>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19" name="Graphic 139">
            <a:extLst>
              <a:ext uri="{FF2B5EF4-FFF2-40B4-BE49-F238E27FC236}">
                <a16:creationId xmlns:a16="http://schemas.microsoft.com/office/drawing/2014/main" id="{9C09AAB2-80A1-55BA-B296-5163B30676C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70000" y="466666"/>
            <a:ext cx="252000" cy="252000"/>
          </a:xfrm>
          <a:prstGeom prst="rect">
            <a:avLst/>
          </a:prstGeom>
        </p:spPr>
      </p:pic>
      <p:sp>
        <p:nvSpPr>
          <p:cNvPr id="220" name="TextBox 140">
            <a:extLst>
              <a:ext uri="{FF2B5EF4-FFF2-40B4-BE49-F238E27FC236}">
                <a16:creationId xmlns:a16="http://schemas.microsoft.com/office/drawing/2014/main" id="{92820C1A-95CE-2F79-C713-B4B0A46BF832}"/>
              </a:ext>
            </a:extLst>
          </p:cNvPr>
          <p:cNvSpPr txBox="1"/>
          <p:nvPr/>
        </p:nvSpPr>
        <p:spPr>
          <a:xfrm>
            <a:off x="1362287" y="402906"/>
            <a:ext cx="189154"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a:t>
            </a:r>
          </a:p>
        </p:txBody>
      </p:sp>
      <p:sp>
        <p:nvSpPr>
          <p:cNvPr id="221" name="TextBox 141">
            <a:extLst>
              <a:ext uri="{FF2B5EF4-FFF2-40B4-BE49-F238E27FC236}">
                <a16:creationId xmlns:a16="http://schemas.microsoft.com/office/drawing/2014/main" id="{B90B30C2-1C7E-97DD-0564-CB9DDA1A142A}"/>
              </a:ext>
            </a:extLst>
          </p:cNvPr>
          <p:cNvSpPr txBox="1"/>
          <p:nvPr/>
        </p:nvSpPr>
        <p:spPr>
          <a:xfrm>
            <a:off x="1627606" y="402906"/>
            <a:ext cx="1231106"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Perspectives </a:t>
            </a:r>
          </a:p>
        </p:txBody>
      </p:sp>
      <p:cxnSp>
        <p:nvCxnSpPr>
          <p:cNvPr id="222" name="Straight Connector 142">
            <a:extLst>
              <a:ext uri="{FF2B5EF4-FFF2-40B4-BE49-F238E27FC236}">
                <a16:creationId xmlns:a16="http://schemas.microsoft.com/office/drawing/2014/main" id="{780FC6D8-5184-1A01-6A52-E2A1EFF38003}"/>
              </a:ext>
            </a:extLst>
          </p:cNvPr>
          <p:cNvCxnSpPr/>
          <p:nvPr/>
        </p:nvCxnSpPr>
        <p:spPr>
          <a:xfrm>
            <a:off x="299484" y="-6979313"/>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pic>
        <p:nvPicPr>
          <p:cNvPr id="223" name="Graphic 143">
            <a:extLst>
              <a:ext uri="{FF2B5EF4-FFF2-40B4-BE49-F238E27FC236}">
                <a16:creationId xmlns:a16="http://schemas.microsoft.com/office/drawing/2014/main" id="{5A5BB558-ADE8-F3D7-FFFF-9AB24AEA404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70000" y="-7136426"/>
            <a:ext cx="252000" cy="252000"/>
          </a:xfrm>
          <a:prstGeom prst="rect">
            <a:avLst/>
          </a:prstGeom>
        </p:spPr>
      </p:pic>
      <p:sp>
        <p:nvSpPr>
          <p:cNvPr id="224" name="TextBox 144">
            <a:extLst>
              <a:ext uri="{FF2B5EF4-FFF2-40B4-BE49-F238E27FC236}">
                <a16:creationId xmlns:a16="http://schemas.microsoft.com/office/drawing/2014/main" id="{FB31452E-BB35-CBC9-534D-8C91D688152C}"/>
              </a:ext>
            </a:extLst>
          </p:cNvPr>
          <p:cNvSpPr txBox="1"/>
          <p:nvPr/>
        </p:nvSpPr>
        <p:spPr>
          <a:xfrm>
            <a:off x="281745" y="-6633820"/>
            <a:ext cx="4046199" cy="494879"/>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4800" dirty="0"/>
              <a:t>Conclusion</a:t>
            </a:r>
            <a:endParaRPr lang="en-GB" sz="4800" dirty="0"/>
          </a:p>
        </p:txBody>
      </p:sp>
      <p:grpSp>
        <p:nvGrpSpPr>
          <p:cNvPr id="225" name="Group 145">
            <a:extLst>
              <a:ext uri="{FF2B5EF4-FFF2-40B4-BE49-F238E27FC236}">
                <a16:creationId xmlns:a16="http://schemas.microsoft.com/office/drawing/2014/main" id="{BB3D672E-DE68-816A-CB10-27A8A475C2B9}"/>
              </a:ext>
            </a:extLst>
          </p:cNvPr>
          <p:cNvGrpSpPr/>
          <p:nvPr/>
        </p:nvGrpSpPr>
        <p:grpSpPr>
          <a:xfrm rot="19800000" flipH="1">
            <a:off x="9246010" y="-6031877"/>
            <a:ext cx="2660495" cy="1518832"/>
            <a:chOff x="5776913" y="3405188"/>
            <a:chExt cx="2025650" cy="1158875"/>
          </a:xfrm>
          <a:solidFill>
            <a:schemeClr val="accent3"/>
          </a:solidFill>
        </p:grpSpPr>
        <p:sp>
          <p:nvSpPr>
            <p:cNvPr id="226" name="Freeform 6">
              <a:extLst>
                <a:ext uri="{FF2B5EF4-FFF2-40B4-BE49-F238E27FC236}">
                  <a16:creationId xmlns:a16="http://schemas.microsoft.com/office/drawing/2014/main" id="{1B890692-37BF-400F-4FDA-2AE0087F5A49}"/>
                </a:ext>
              </a:extLst>
            </p:cNvPr>
            <p:cNvSpPr>
              <a:spLocks/>
            </p:cNvSpPr>
            <p:nvPr/>
          </p:nvSpPr>
          <p:spPr bwMode="auto">
            <a:xfrm>
              <a:off x="5776913" y="3405188"/>
              <a:ext cx="1524000" cy="847725"/>
            </a:xfrm>
            <a:custGeom>
              <a:avLst/>
              <a:gdLst>
                <a:gd name="T0" fmla="*/ 800 w 960"/>
                <a:gd name="T1" fmla="*/ 283 h 534"/>
                <a:gd name="T2" fmla="*/ 960 w 960"/>
                <a:gd name="T3" fmla="*/ 534 h 534"/>
                <a:gd name="T4" fmla="*/ 933 w 960"/>
                <a:gd name="T5" fmla="*/ 160 h 534"/>
                <a:gd name="T6" fmla="*/ 0 w 960"/>
                <a:gd name="T7" fmla="*/ 0 h 534"/>
                <a:gd name="T8" fmla="*/ 800 w 960"/>
                <a:gd name="T9" fmla="*/ 283 h 534"/>
              </a:gdLst>
              <a:ahLst/>
              <a:cxnLst>
                <a:cxn ang="0">
                  <a:pos x="T0" y="T1"/>
                </a:cxn>
                <a:cxn ang="0">
                  <a:pos x="T2" y="T3"/>
                </a:cxn>
                <a:cxn ang="0">
                  <a:pos x="T4" y="T5"/>
                </a:cxn>
                <a:cxn ang="0">
                  <a:pos x="T6" y="T7"/>
                </a:cxn>
                <a:cxn ang="0">
                  <a:pos x="T8" y="T9"/>
                </a:cxn>
              </a:cxnLst>
              <a:rect l="0" t="0" r="r" b="b"/>
              <a:pathLst>
                <a:path w="960" h="534">
                  <a:moveTo>
                    <a:pt x="800" y="283"/>
                  </a:moveTo>
                  <a:lnTo>
                    <a:pt x="960" y="534"/>
                  </a:lnTo>
                  <a:lnTo>
                    <a:pt x="933" y="160"/>
                  </a:lnTo>
                  <a:lnTo>
                    <a:pt x="0" y="0"/>
                  </a:lnTo>
                  <a:lnTo>
                    <a:pt x="800" y="283"/>
                  </a:lnTo>
                  <a:close/>
                </a:path>
              </a:pathLst>
            </a:custGeom>
            <a:grpFill/>
            <a:ln w="38100">
              <a:solidFill>
                <a:schemeClr val="bg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27" name="Freeform 7">
              <a:extLst>
                <a:ext uri="{FF2B5EF4-FFF2-40B4-BE49-F238E27FC236}">
                  <a16:creationId xmlns:a16="http://schemas.microsoft.com/office/drawing/2014/main" id="{487808FE-E11C-B3AD-2D8F-6CE94D8AA012}"/>
                </a:ext>
              </a:extLst>
            </p:cNvPr>
            <p:cNvSpPr>
              <a:spLocks/>
            </p:cNvSpPr>
            <p:nvPr/>
          </p:nvSpPr>
          <p:spPr bwMode="auto">
            <a:xfrm>
              <a:off x="7299325" y="4254500"/>
              <a:ext cx="1588" cy="1587"/>
            </a:xfrm>
            <a:custGeom>
              <a:avLst/>
              <a:gdLst>
                <a:gd name="T0" fmla="*/ 7 w 7"/>
                <a:gd name="T1" fmla="*/ 10 h 10"/>
                <a:gd name="T2" fmla="*/ 6 w 7"/>
                <a:gd name="T3" fmla="*/ 2 h 10"/>
                <a:gd name="T4" fmla="*/ 0 w 7"/>
                <a:gd name="T5" fmla="*/ 0 h 10"/>
                <a:gd name="T6" fmla="*/ 7 w 7"/>
                <a:gd name="T7" fmla="*/ 10 h 10"/>
              </a:gdLst>
              <a:ahLst/>
              <a:cxnLst>
                <a:cxn ang="0">
                  <a:pos x="T0" y="T1"/>
                </a:cxn>
                <a:cxn ang="0">
                  <a:pos x="T2" y="T3"/>
                </a:cxn>
                <a:cxn ang="0">
                  <a:pos x="T4" y="T5"/>
                </a:cxn>
                <a:cxn ang="0">
                  <a:pos x="T6" y="T7"/>
                </a:cxn>
              </a:cxnLst>
              <a:rect l="0" t="0" r="r" b="b"/>
              <a:pathLst>
                <a:path w="7" h="10">
                  <a:moveTo>
                    <a:pt x="7" y="10"/>
                  </a:moveTo>
                  <a:lnTo>
                    <a:pt x="6" y="2"/>
                  </a:lnTo>
                  <a:lnTo>
                    <a:pt x="0" y="0"/>
                  </a:lnTo>
                  <a:lnTo>
                    <a:pt x="7" y="10"/>
                  </a:lnTo>
                  <a:close/>
                </a:path>
              </a:pathLst>
            </a:custGeom>
            <a:grpFill/>
            <a:ln w="38100">
              <a:solidFill>
                <a:schemeClr val="bg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28" name="Freeform 8">
              <a:extLst>
                <a:ext uri="{FF2B5EF4-FFF2-40B4-BE49-F238E27FC236}">
                  <a16:creationId xmlns:a16="http://schemas.microsoft.com/office/drawing/2014/main" id="{263BCA3E-0346-C29A-048E-4CB2B577BBD0}"/>
                </a:ext>
              </a:extLst>
            </p:cNvPr>
            <p:cNvSpPr>
              <a:spLocks/>
            </p:cNvSpPr>
            <p:nvPr/>
          </p:nvSpPr>
          <p:spPr bwMode="auto">
            <a:xfrm>
              <a:off x="5776913" y="3405188"/>
              <a:ext cx="2025650" cy="254000"/>
            </a:xfrm>
            <a:custGeom>
              <a:avLst/>
              <a:gdLst>
                <a:gd name="T0" fmla="*/ 8902 w 12170"/>
                <a:gd name="T1" fmla="*/ 1519 h 1519"/>
                <a:gd name="T2" fmla="*/ 12170 w 12170"/>
                <a:gd name="T3" fmla="*/ 61 h 1519"/>
                <a:gd name="T4" fmla="*/ 0 w 12170"/>
                <a:gd name="T5" fmla="*/ 0 h 1519"/>
                <a:gd name="T6" fmla="*/ 8902 w 12170"/>
                <a:gd name="T7" fmla="*/ 1519 h 1519"/>
              </a:gdLst>
              <a:ahLst/>
              <a:cxnLst>
                <a:cxn ang="0">
                  <a:pos x="T0" y="T1"/>
                </a:cxn>
                <a:cxn ang="0">
                  <a:pos x="T2" y="T3"/>
                </a:cxn>
                <a:cxn ang="0">
                  <a:pos x="T4" y="T5"/>
                </a:cxn>
                <a:cxn ang="0">
                  <a:pos x="T6" y="T7"/>
                </a:cxn>
              </a:cxnLst>
              <a:rect l="0" t="0" r="r" b="b"/>
              <a:pathLst>
                <a:path w="12170" h="1519">
                  <a:moveTo>
                    <a:pt x="8902" y="1519"/>
                  </a:moveTo>
                  <a:lnTo>
                    <a:pt x="12170" y="61"/>
                  </a:lnTo>
                  <a:lnTo>
                    <a:pt x="0" y="0"/>
                  </a:lnTo>
                  <a:lnTo>
                    <a:pt x="8902" y="1519"/>
                  </a:lnTo>
                  <a:close/>
                </a:path>
              </a:pathLst>
            </a:custGeom>
            <a:grpFill/>
            <a:ln w="38100">
              <a:solidFill>
                <a:schemeClr val="bg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29" name="Freeform 9">
              <a:extLst>
                <a:ext uri="{FF2B5EF4-FFF2-40B4-BE49-F238E27FC236}">
                  <a16:creationId xmlns:a16="http://schemas.microsoft.com/office/drawing/2014/main" id="{9E01DD8E-F52A-8675-6C4A-0C938F3DEA07}"/>
                </a:ext>
              </a:extLst>
            </p:cNvPr>
            <p:cNvSpPr>
              <a:spLocks/>
            </p:cNvSpPr>
            <p:nvPr/>
          </p:nvSpPr>
          <p:spPr bwMode="auto">
            <a:xfrm>
              <a:off x="6851650" y="3854450"/>
              <a:ext cx="450850" cy="400050"/>
            </a:xfrm>
            <a:custGeom>
              <a:avLst/>
              <a:gdLst>
                <a:gd name="T0" fmla="*/ 0 w 284"/>
                <a:gd name="T1" fmla="*/ 145 h 252"/>
                <a:gd name="T2" fmla="*/ 282 w 284"/>
                <a:gd name="T3" fmla="*/ 252 h 252"/>
                <a:gd name="T4" fmla="*/ 283 w 284"/>
                <a:gd name="T5" fmla="*/ 252 h 252"/>
                <a:gd name="T6" fmla="*/ 284 w 284"/>
                <a:gd name="T7" fmla="*/ 252 h 252"/>
                <a:gd name="T8" fmla="*/ 283 w 284"/>
                <a:gd name="T9" fmla="*/ 251 h 252"/>
                <a:gd name="T10" fmla="*/ 123 w 284"/>
                <a:gd name="T11" fmla="*/ 0 h 252"/>
                <a:gd name="T12" fmla="*/ 0 w 284"/>
                <a:gd name="T13" fmla="*/ 145 h 252"/>
              </a:gdLst>
              <a:ahLst/>
              <a:cxnLst>
                <a:cxn ang="0">
                  <a:pos x="T0" y="T1"/>
                </a:cxn>
                <a:cxn ang="0">
                  <a:pos x="T2" y="T3"/>
                </a:cxn>
                <a:cxn ang="0">
                  <a:pos x="T4" y="T5"/>
                </a:cxn>
                <a:cxn ang="0">
                  <a:pos x="T6" y="T7"/>
                </a:cxn>
                <a:cxn ang="0">
                  <a:pos x="T8" y="T9"/>
                </a:cxn>
                <a:cxn ang="0">
                  <a:pos x="T10" y="T11"/>
                </a:cxn>
                <a:cxn ang="0">
                  <a:pos x="T12" y="T13"/>
                </a:cxn>
              </a:cxnLst>
              <a:rect l="0" t="0" r="r" b="b"/>
              <a:pathLst>
                <a:path w="284" h="252">
                  <a:moveTo>
                    <a:pt x="0" y="145"/>
                  </a:moveTo>
                  <a:lnTo>
                    <a:pt x="282" y="252"/>
                  </a:lnTo>
                  <a:lnTo>
                    <a:pt x="283" y="252"/>
                  </a:lnTo>
                  <a:lnTo>
                    <a:pt x="284" y="252"/>
                  </a:lnTo>
                  <a:lnTo>
                    <a:pt x="283" y="251"/>
                  </a:lnTo>
                  <a:lnTo>
                    <a:pt x="123" y="0"/>
                  </a:lnTo>
                  <a:lnTo>
                    <a:pt x="0" y="145"/>
                  </a:lnTo>
                  <a:close/>
                </a:path>
              </a:pathLst>
            </a:custGeom>
            <a:grpFill/>
            <a:ln w="38100">
              <a:solidFill>
                <a:schemeClr val="bg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30" name="Freeform 10">
              <a:extLst>
                <a:ext uri="{FF2B5EF4-FFF2-40B4-BE49-F238E27FC236}">
                  <a16:creationId xmlns:a16="http://schemas.microsoft.com/office/drawing/2014/main" id="{9682A7E2-2746-F3AB-C43B-D74A12FD0CE1}"/>
                </a:ext>
              </a:extLst>
            </p:cNvPr>
            <p:cNvSpPr>
              <a:spLocks/>
            </p:cNvSpPr>
            <p:nvPr/>
          </p:nvSpPr>
          <p:spPr bwMode="auto">
            <a:xfrm>
              <a:off x="5776913" y="3405188"/>
              <a:ext cx="1270000" cy="1158875"/>
            </a:xfrm>
            <a:custGeom>
              <a:avLst/>
              <a:gdLst>
                <a:gd name="T0" fmla="*/ 4033 w 7629"/>
                <a:gd name="T1" fmla="*/ 6958 h 6958"/>
                <a:gd name="T2" fmla="*/ 7629 w 7629"/>
                <a:gd name="T3" fmla="*/ 2694 h 6958"/>
                <a:gd name="T4" fmla="*/ 0 w 7629"/>
                <a:gd name="T5" fmla="*/ 0 h 6958"/>
                <a:gd name="T6" fmla="*/ 4033 w 7629"/>
                <a:gd name="T7" fmla="*/ 6958 h 6958"/>
              </a:gdLst>
              <a:ahLst/>
              <a:cxnLst>
                <a:cxn ang="0">
                  <a:pos x="T0" y="T1"/>
                </a:cxn>
                <a:cxn ang="0">
                  <a:pos x="T2" y="T3"/>
                </a:cxn>
                <a:cxn ang="0">
                  <a:pos x="T4" y="T5"/>
                </a:cxn>
                <a:cxn ang="0">
                  <a:pos x="T6" y="T7"/>
                </a:cxn>
              </a:cxnLst>
              <a:rect l="0" t="0" r="r" b="b"/>
              <a:pathLst>
                <a:path w="7629" h="6958">
                  <a:moveTo>
                    <a:pt x="4033" y="6958"/>
                  </a:moveTo>
                  <a:lnTo>
                    <a:pt x="7629" y="2694"/>
                  </a:lnTo>
                  <a:lnTo>
                    <a:pt x="0" y="0"/>
                  </a:lnTo>
                  <a:lnTo>
                    <a:pt x="4033" y="6958"/>
                  </a:lnTo>
                  <a:close/>
                </a:path>
              </a:pathLst>
            </a:custGeom>
            <a:grpFill/>
            <a:ln w="38100">
              <a:solidFill>
                <a:schemeClr val="bg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231" name="Freeform 287">
            <a:extLst>
              <a:ext uri="{FF2B5EF4-FFF2-40B4-BE49-F238E27FC236}">
                <a16:creationId xmlns:a16="http://schemas.microsoft.com/office/drawing/2014/main" id="{473F25C8-12F1-A882-B101-20056BA80A62}"/>
              </a:ext>
            </a:extLst>
          </p:cNvPr>
          <p:cNvSpPr>
            <a:spLocks/>
          </p:cNvSpPr>
          <p:nvPr/>
        </p:nvSpPr>
        <p:spPr bwMode="auto">
          <a:xfrm rot="15196441">
            <a:off x="3002864" y="-8287323"/>
            <a:ext cx="4643747" cy="8855387"/>
          </a:xfrm>
          <a:custGeom>
            <a:avLst/>
            <a:gdLst>
              <a:gd name="T0" fmla="*/ 657 w 2289"/>
              <a:gd name="T1" fmla="*/ 3772 h 3772"/>
              <a:gd name="T2" fmla="*/ 168 w 2289"/>
              <a:gd name="T3" fmla="*/ 3010 h 3772"/>
              <a:gd name="T4" fmla="*/ 342 w 2289"/>
              <a:gd name="T5" fmla="*/ 2122 h 3772"/>
              <a:gd name="T6" fmla="*/ 733 w 2289"/>
              <a:gd name="T7" fmla="*/ 1806 h 3772"/>
              <a:gd name="T8" fmla="*/ 1179 w 2289"/>
              <a:gd name="T9" fmla="*/ 1971 h 3772"/>
              <a:gd name="T10" fmla="*/ 888 w 2289"/>
              <a:gd name="T11" fmla="*/ 2498 h 3772"/>
              <a:gd name="T12" fmla="*/ 277 w 2289"/>
              <a:gd name="T13" fmla="*/ 2236 h 3772"/>
              <a:gd name="T14" fmla="*/ 88 w 2289"/>
              <a:gd name="T15" fmla="*/ 1332 h 3772"/>
              <a:gd name="T16" fmla="*/ 724 w 2289"/>
              <a:gd name="T17" fmla="*/ 662 h 3772"/>
              <a:gd name="T18" fmla="*/ 1071 w 2289"/>
              <a:gd name="T19" fmla="*/ 646 h 3772"/>
              <a:gd name="T20" fmla="*/ 1264 w 2289"/>
              <a:gd name="T21" fmla="*/ 912 h 3772"/>
              <a:gd name="T22" fmla="*/ 1023 w 2289"/>
              <a:gd name="T23" fmla="*/ 1133 h 3772"/>
              <a:gd name="T24" fmla="*/ 718 w 2289"/>
              <a:gd name="T25" fmla="*/ 981 h 3772"/>
              <a:gd name="T26" fmla="*/ 752 w 2289"/>
              <a:gd name="T27" fmla="*/ 315 h 3772"/>
              <a:gd name="T28" fmla="*/ 1382 w 2289"/>
              <a:gd name="T29" fmla="*/ 16 h 3772"/>
              <a:gd name="T30" fmla="*/ 1960 w 2289"/>
              <a:gd name="T31" fmla="*/ 58 h 3772"/>
              <a:gd name="T32" fmla="*/ 2289 w 2289"/>
              <a:gd name="T33" fmla="*/ 113 h 3772"/>
              <a:gd name="connsiteX0" fmla="*/ 2647 w 9777"/>
              <a:gd name="connsiteY0" fmla="*/ 9975 h 9975"/>
              <a:gd name="connsiteX1" fmla="*/ 511 w 9777"/>
              <a:gd name="connsiteY1" fmla="*/ 7955 h 9975"/>
              <a:gd name="connsiteX2" fmla="*/ 1271 w 9777"/>
              <a:gd name="connsiteY2" fmla="*/ 5601 h 9975"/>
              <a:gd name="connsiteX3" fmla="*/ 2979 w 9777"/>
              <a:gd name="connsiteY3" fmla="*/ 4763 h 9975"/>
              <a:gd name="connsiteX4" fmla="*/ 4928 w 9777"/>
              <a:gd name="connsiteY4" fmla="*/ 5200 h 9975"/>
              <a:gd name="connsiteX5" fmla="*/ 3656 w 9777"/>
              <a:gd name="connsiteY5" fmla="*/ 6597 h 9975"/>
              <a:gd name="connsiteX6" fmla="*/ 987 w 9777"/>
              <a:gd name="connsiteY6" fmla="*/ 5903 h 9975"/>
              <a:gd name="connsiteX7" fmla="*/ 161 w 9777"/>
              <a:gd name="connsiteY7" fmla="*/ 3506 h 9975"/>
              <a:gd name="connsiteX8" fmla="*/ 2940 w 9777"/>
              <a:gd name="connsiteY8" fmla="*/ 1730 h 9975"/>
              <a:gd name="connsiteX9" fmla="*/ 4456 w 9777"/>
              <a:gd name="connsiteY9" fmla="*/ 1688 h 9975"/>
              <a:gd name="connsiteX10" fmla="*/ 5299 w 9777"/>
              <a:gd name="connsiteY10" fmla="*/ 2393 h 9975"/>
              <a:gd name="connsiteX11" fmla="*/ 4246 w 9777"/>
              <a:gd name="connsiteY11" fmla="*/ 2979 h 9975"/>
              <a:gd name="connsiteX12" fmla="*/ 2914 w 9777"/>
              <a:gd name="connsiteY12" fmla="*/ 2576 h 9975"/>
              <a:gd name="connsiteX13" fmla="*/ 3062 w 9777"/>
              <a:gd name="connsiteY13" fmla="*/ 810 h 9975"/>
              <a:gd name="connsiteX14" fmla="*/ 5815 w 9777"/>
              <a:gd name="connsiteY14" fmla="*/ 17 h 9975"/>
              <a:gd name="connsiteX15" fmla="*/ 9777 w 9777"/>
              <a:gd name="connsiteY15" fmla="*/ 275 h 9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77" h="9975">
                <a:moveTo>
                  <a:pt x="2647" y="9975"/>
                </a:moveTo>
                <a:cubicBezTo>
                  <a:pt x="1546" y="9500"/>
                  <a:pt x="764" y="8761"/>
                  <a:pt x="511" y="7955"/>
                </a:cubicBezTo>
                <a:cubicBezTo>
                  <a:pt x="258" y="7152"/>
                  <a:pt x="537" y="6290"/>
                  <a:pt x="1271" y="5601"/>
                </a:cubicBezTo>
                <a:cubicBezTo>
                  <a:pt x="1682" y="5222"/>
                  <a:pt x="2254" y="4880"/>
                  <a:pt x="2979" y="4763"/>
                </a:cubicBezTo>
                <a:cubicBezTo>
                  <a:pt x="3700" y="4644"/>
                  <a:pt x="4578" y="4800"/>
                  <a:pt x="4928" y="5200"/>
                </a:cubicBezTo>
                <a:cubicBezTo>
                  <a:pt x="5408" y="5744"/>
                  <a:pt x="4652" y="6470"/>
                  <a:pt x="3656" y="6597"/>
                </a:cubicBezTo>
                <a:cubicBezTo>
                  <a:pt x="2660" y="6722"/>
                  <a:pt x="1634" y="6380"/>
                  <a:pt x="987" y="5903"/>
                </a:cubicBezTo>
                <a:cubicBezTo>
                  <a:pt x="96" y="5248"/>
                  <a:pt x="-223" y="4323"/>
                  <a:pt x="161" y="3506"/>
                </a:cubicBezTo>
                <a:cubicBezTo>
                  <a:pt x="542" y="2690"/>
                  <a:pt x="1616" y="2003"/>
                  <a:pt x="2940" y="1730"/>
                </a:cubicBezTo>
                <a:cubicBezTo>
                  <a:pt x="3429" y="1627"/>
                  <a:pt x="3971" y="1582"/>
                  <a:pt x="4456" y="1688"/>
                </a:cubicBezTo>
                <a:cubicBezTo>
                  <a:pt x="4941" y="1794"/>
                  <a:pt x="5343" y="2083"/>
                  <a:pt x="5299" y="2393"/>
                </a:cubicBezTo>
                <a:cubicBezTo>
                  <a:pt x="5255" y="2708"/>
                  <a:pt x="4766" y="2958"/>
                  <a:pt x="4246" y="2979"/>
                </a:cubicBezTo>
                <a:cubicBezTo>
                  <a:pt x="3731" y="3000"/>
                  <a:pt x="3224" y="2825"/>
                  <a:pt x="2914" y="2576"/>
                </a:cubicBezTo>
                <a:cubicBezTo>
                  <a:pt x="2280" y="2069"/>
                  <a:pt x="2411" y="1309"/>
                  <a:pt x="3062" y="810"/>
                </a:cubicBezTo>
                <a:cubicBezTo>
                  <a:pt x="3709" y="314"/>
                  <a:pt x="4770" y="60"/>
                  <a:pt x="5815" y="17"/>
                </a:cubicBezTo>
                <a:cubicBezTo>
                  <a:pt x="6934" y="-72"/>
                  <a:pt x="8952" y="221"/>
                  <a:pt x="9777" y="275"/>
                </a:cubicBezTo>
              </a:path>
            </a:pathLst>
          </a:custGeom>
          <a:noFill/>
          <a:ln w="22225" cap="rnd">
            <a:solidFill>
              <a:schemeClr val="bg2">
                <a:lumMod val="75000"/>
              </a:schemeClr>
            </a:solid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232" name="Group 152">
            <a:extLst>
              <a:ext uri="{FF2B5EF4-FFF2-40B4-BE49-F238E27FC236}">
                <a16:creationId xmlns:a16="http://schemas.microsoft.com/office/drawing/2014/main" id="{9DE6A622-E80D-D421-832C-A1875543CB23}"/>
              </a:ext>
            </a:extLst>
          </p:cNvPr>
          <p:cNvGrpSpPr/>
          <p:nvPr/>
        </p:nvGrpSpPr>
        <p:grpSpPr>
          <a:xfrm>
            <a:off x="1331720" y="-5797837"/>
            <a:ext cx="2937088" cy="1043931"/>
            <a:chOff x="8921977" y="1466725"/>
            <a:chExt cx="2937088" cy="1043931"/>
          </a:xfrm>
        </p:grpSpPr>
        <p:sp>
          <p:nvSpPr>
            <p:cNvPr id="233" name="TextBox 74">
              <a:extLst>
                <a:ext uri="{FF2B5EF4-FFF2-40B4-BE49-F238E27FC236}">
                  <a16:creationId xmlns:a16="http://schemas.microsoft.com/office/drawing/2014/main" id="{4842B6F1-516B-EB3D-F526-C4D60935FF6E}"/>
                </a:ext>
              </a:extLst>
            </p:cNvPr>
            <p:cNvSpPr txBox="1"/>
            <p:nvPr/>
          </p:nvSpPr>
          <p:spPr>
            <a:xfrm>
              <a:off x="8921977" y="1466725"/>
              <a:ext cx="2937088"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2400" b="1" dirty="0">
                  <a:solidFill>
                    <a:schemeClr val="accent2"/>
                  </a:solidFill>
                </a:rPr>
                <a:t>Contexte</a:t>
              </a:r>
              <a:endParaRPr lang="en-US" sz="2400" b="1" dirty="0">
                <a:solidFill>
                  <a:schemeClr val="accent2"/>
                </a:solidFill>
              </a:endParaRPr>
            </a:p>
          </p:txBody>
        </p:sp>
        <p:sp>
          <p:nvSpPr>
            <p:cNvPr id="234" name="TextBox 75">
              <a:extLst>
                <a:ext uri="{FF2B5EF4-FFF2-40B4-BE49-F238E27FC236}">
                  <a16:creationId xmlns:a16="http://schemas.microsoft.com/office/drawing/2014/main" id="{A9A23EE3-6BE5-322E-22D1-A75376641DBC}"/>
                </a:ext>
              </a:extLst>
            </p:cNvPr>
            <p:cNvSpPr txBox="1"/>
            <p:nvPr/>
          </p:nvSpPr>
          <p:spPr>
            <a:xfrm>
              <a:off x="8929772" y="1925881"/>
              <a:ext cx="2929293" cy="584775"/>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fr-FR" sz="1600" dirty="0">
                  <a:solidFill>
                    <a:schemeClr val="bg1"/>
                  </a:solidFill>
                </a:rPr>
                <a:t>Des audits ISO de plus en plus complexes et fréquents</a:t>
              </a:r>
              <a:endParaRPr lang="en-US" sz="1600" dirty="0">
                <a:solidFill>
                  <a:schemeClr val="bg1"/>
                </a:solidFill>
              </a:endParaRPr>
            </a:p>
          </p:txBody>
        </p:sp>
      </p:grpSp>
      <p:grpSp>
        <p:nvGrpSpPr>
          <p:cNvPr id="235" name="Group 155">
            <a:extLst>
              <a:ext uri="{FF2B5EF4-FFF2-40B4-BE49-F238E27FC236}">
                <a16:creationId xmlns:a16="http://schemas.microsoft.com/office/drawing/2014/main" id="{7345DF53-CAF6-9E18-8FF8-5CDFA066EB2A}"/>
              </a:ext>
            </a:extLst>
          </p:cNvPr>
          <p:cNvGrpSpPr/>
          <p:nvPr/>
        </p:nvGrpSpPr>
        <p:grpSpPr>
          <a:xfrm>
            <a:off x="6550667" y="-2231881"/>
            <a:ext cx="2937088" cy="1228597"/>
            <a:chOff x="8921977" y="1466725"/>
            <a:chExt cx="2937088" cy="1228597"/>
          </a:xfrm>
        </p:grpSpPr>
        <p:sp>
          <p:nvSpPr>
            <p:cNvPr id="236" name="TextBox 80">
              <a:extLst>
                <a:ext uri="{FF2B5EF4-FFF2-40B4-BE49-F238E27FC236}">
                  <a16:creationId xmlns:a16="http://schemas.microsoft.com/office/drawing/2014/main" id="{CCFCD445-41F0-C57A-3EAA-480D0913FEFD}"/>
                </a:ext>
              </a:extLst>
            </p:cNvPr>
            <p:cNvSpPr txBox="1"/>
            <p:nvPr/>
          </p:nvSpPr>
          <p:spPr>
            <a:xfrm>
              <a:off x="8921977" y="1466725"/>
              <a:ext cx="2937088"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2400" b="1" dirty="0">
                  <a:solidFill>
                    <a:schemeClr val="accent3"/>
                  </a:solidFill>
                </a:rPr>
                <a:t>Problème</a:t>
              </a:r>
              <a:endParaRPr lang="en-US" sz="2400" b="1" dirty="0">
                <a:solidFill>
                  <a:schemeClr val="accent3"/>
                </a:solidFill>
              </a:endParaRPr>
            </a:p>
          </p:txBody>
        </p:sp>
        <p:sp>
          <p:nvSpPr>
            <p:cNvPr id="237" name="TextBox 81">
              <a:extLst>
                <a:ext uri="{FF2B5EF4-FFF2-40B4-BE49-F238E27FC236}">
                  <a16:creationId xmlns:a16="http://schemas.microsoft.com/office/drawing/2014/main" id="{212E2864-9A8C-5718-F21C-3313484A13B0}"/>
                </a:ext>
              </a:extLst>
            </p:cNvPr>
            <p:cNvSpPr txBox="1"/>
            <p:nvPr/>
          </p:nvSpPr>
          <p:spPr>
            <a:xfrm>
              <a:off x="8929772" y="1925881"/>
              <a:ext cx="2929293" cy="769441"/>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just" eaLnBrk="0" fontAlgn="base" hangingPunct="0">
                <a:spcBef>
                  <a:spcPct val="0"/>
                </a:spcBef>
                <a:spcAft>
                  <a:spcPct val="0"/>
                </a:spcAft>
              </a:pPr>
              <a:r>
                <a:rPr lang="fr-TN" altLang="fr-TN" sz="1600" dirty="0">
                  <a:solidFill>
                    <a:schemeClr val="bg1"/>
                  </a:solidFill>
                </a:rPr>
                <a:t>Des méthodes d’audit encore trop manuelles et chronophages</a:t>
              </a:r>
            </a:p>
            <a:p>
              <a:pPr lvl="0" algn="just" eaLnBrk="0" fontAlgn="base" hangingPunct="0">
                <a:spcBef>
                  <a:spcPct val="0"/>
                </a:spcBef>
                <a:spcAft>
                  <a:spcPct val="0"/>
                </a:spcAft>
              </a:pPr>
              <a:endParaRPr lang="fr-TN" altLang="fr-TN" sz="1200" dirty="0">
                <a:solidFill>
                  <a:schemeClr val="bg1"/>
                </a:solidFill>
                <a:latin typeface="Arial" panose="020B0604020202020204" pitchFamily="34" charset="0"/>
              </a:endParaRPr>
            </a:p>
          </p:txBody>
        </p:sp>
      </p:grpSp>
      <p:grpSp>
        <p:nvGrpSpPr>
          <p:cNvPr id="238" name="Group 158">
            <a:extLst>
              <a:ext uri="{FF2B5EF4-FFF2-40B4-BE49-F238E27FC236}">
                <a16:creationId xmlns:a16="http://schemas.microsoft.com/office/drawing/2014/main" id="{FDEF5C6D-3B67-E212-6EDB-88F0D7B61D3F}"/>
              </a:ext>
            </a:extLst>
          </p:cNvPr>
          <p:cNvGrpSpPr/>
          <p:nvPr/>
        </p:nvGrpSpPr>
        <p:grpSpPr>
          <a:xfrm>
            <a:off x="5324737" y="-6147118"/>
            <a:ext cx="2937088" cy="1290153"/>
            <a:chOff x="8921977" y="1466725"/>
            <a:chExt cx="2937088" cy="1290153"/>
          </a:xfrm>
        </p:grpSpPr>
        <p:sp>
          <p:nvSpPr>
            <p:cNvPr id="239" name="TextBox 83">
              <a:extLst>
                <a:ext uri="{FF2B5EF4-FFF2-40B4-BE49-F238E27FC236}">
                  <a16:creationId xmlns:a16="http://schemas.microsoft.com/office/drawing/2014/main" id="{948AA660-D887-7D19-851A-4C870C684AD9}"/>
                </a:ext>
              </a:extLst>
            </p:cNvPr>
            <p:cNvSpPr txBox="1"/>
            <p:nvPr/>
          </p:nvSpPr>
          <p:spPr>
            <a:xfrm>
              <a:off x="8921977" y="1466725"/>
              <a:ext cx="2937088"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2400" b="1" dirty="0">
                  <a:solidFill>
                    <a:schemeClr val="accent4">
                      <a:lumMod val="75000"/>
                    </a:schemeClr>
                  </a:solidFill>
                </a:rPr>
                <a:t>Solution</a:t>
              </a:r>
              <a:endParaRPr lang="en-US" sz="2400" b="1" dirty="0">
                <a:solidFill>
                  <a:schemeClr val="accent4">
                    <a:lumMod val="75000"/>
                  </a:schemeClr>
                </a:solidFill>
              </a:endParaRPr>
            </a:p>
          </p:txBody>
        </p:sp>
        <p:sp>
          <p:nvSpPr>
            <p:cNvPr id="240" name="TextBox 84">
              <a:extLst>
                <a:ext uri="{FF2B5EF4-FFF2-40B4-BE49-F238E27FC236}">
                  <a16:creationId xmlns:a16="http://schemas.microsoft.com/office/drawing/2014/main" id="{54E1FE34-5389-C922-14A4-E3E4FDE86E44}"/>
                </a:ext>
              </a:extLst>
            </p:cNvPr>
            <p:cNvSpPr txBox="1"/>
            <p:nvPr/>
          </p:nvSpPr>
          <p:spPr>
            <a:xfrm>
              <a:off x="8929772" y="1925881"/>
              <a:ext cx="2929293" cy="830997"/>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fr-FR" sz="1600" dirty="0">
                  <a:solidFill>
                    <a:schemeClr val="bg1"/>
                  </a:solidFill>
                </a:rPr>
                <a:t>AuditLynk, une plateforme IA pour assister les auditeurs à chaque étape</a:t>
              </a:r>
              <a:endParaRPr lang="en-US" sz="1600" dirty="0">
                <a:solidFill>
                  <a:schemeClr val="bg1"/>
                </a:solidFill>
              </a:endParaRPr>
            </a:p>
          </p:txBody>
        </p:sp>
      </p:grpSp>
      <p:grpSp>
        <p:nvGrpSpPr>
          <p:cNvPr id="241" name="Group 161">
            <a:extLst>
              <a:ext uri="{FF2B5EF4-FFF2-40B4-BE49-F238E27FC236}">
                <a16:creationId xmlns:a16="http://schemas.microsoft.com/office/drawing/2014/main" id="{719FB310-6BD0-46E4-B1D1-4CCE0E92BD4D}"/>
              </a:ext>
            </a:extLst>
          </p:cNvPr>
          <p:cNvGrpSpPr/>
          <p:nvPr/>
        </p:nvGrpSpPr>
        <p:grpSpPr>
          <a:xfrm>
            <a:off x="9732387" y="-3397281"/>
            <a:ext cx="2258912" cy="1290153"/>
            <a:chOff x="8921977" y="1466725"/>
            <a:chExt cx="2937088" cy="1290153"/>
          </a:xfrm>
        </p:grpSpPr>
        <p:sp>
          <p:nvSpPr>
            <p:cNvPr id="242" name="TextBox 86">
              <a:extLst>
                <a:ext uri="{FF2B5EF4-FFF2-40B4-BE49-F238E27FC236}">
                  <a16:creationId xmlns:a16="http://schemas.microsoft.com/office/drawing/2014/main" id="{5F17CAB7-AB67-DCB0-585F-FEEC6B94587A}"/>
                </a:ext>
              </a:extLst>
            </p:cNvPr>
            <p:cNvSpPr txBox="1"/>
            <p:nvPr/>
          </p:nvSpPr>
          <p:spPr>
            <a:xfrm>
              <a:off x="8921977" y="1466725"/>
              <a:ext cx="2937088"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2400" b="1" dirty="0">
                  <a:solidFill>
                    <a:schemeClr val="accent5"/>
                  </a:solidFill>
                </a:rPr>
                <a:t>Résultat</a:t>
              </a:r>
              <a:endParaRPr lang="en-US" sz="2400" b="1" dirty="0">
                <a:solidFill>
                  <a:schemeClr val="accent5"/>
                </a:solidFill>
              </a:endParaRPr>
            </a:p>
          </p:txBody>
        </p:sp>
        <p:sp>
          <p:nvSpPr>
            <p:cNvPr id="243" name="TextBox 87">
              <a:extLst>
                <a:ext uri="{FF2B5EF4-FFF2-40B4-BE49-F238E27FC236}">
                  <a16:creationId xmlns:a16="http://schemas.microsoft.com/office/drawing/2014/main" id="{AC1786AE-772B-9F2B-8F62-E36BC106EF68}"/>
                </a:ext>
              </a:extLst>
            </p:cNvPr>
            <p:cNvSpPr txBox="1"/>
            <p:nvPr/>
          </p:nvSpPr>
          <p:spPr>
            <a:xfrm>
              <a:off x="8929772" y="1925881"/>
              <a:ext cx="2929293" cy="830997"/>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fr-FR" sz="1600" dirty="0">
                  <a:solidFill>
                    <a:schemeClr val="bg1"/>
                  </a:solidFill>
                </a:rPr>
                <a:t>Objectifs atteints, solution fonctionnelle, fluide et fiable</a:t>
              </a:r>
              <a:endParaRPr lang="en-US" sz="1600" dirty="0">
                <a:solidFill>
                  <a:schemeClr val="bg1"/>
                </a:solidFill>
              </a:endParaRPr>
            </a:p>
          </p:txBody>
        </p:sp>
      </p:grpSp>
      <p:grpSp>
        <p:nvGrpSpPr>
          <p:cNvPr id="244" name="Group 164">
            <a:extLst>
              <a:ext uri="{FF2B5EF4-FFF2-40B4-BE49-F238E27FC236}">
                <a16:creationId xmlns:a16="http://schemas.microsoft.com/office/drawing/2014/main" id="{28F1A219-5552-51DC-7732-BE364A87B6DB}"/>
              </a:ext>
            </a:extLst>
          </p:cNvPr>
          <p:cNvGrpSpPr/>
          <p:nvPr/>
        </p:nvGrpSpPr>
        <p:grpSpPr>
          <a:xfrm>
            <a:off x="240218" y="-5562420"/>
            <a:ext cx="850392" cy="850392"/>
            <a:chOff x="276395" y="1672297"/>
            <a:chExt cx="850392" cy="850392"/>
          </a:xfrm>
        </p:grpSpPr>
        <p:sp>
          <p:nvSpPr>
            <p:cNvPr id="245" name="Oval 165">
              <a:extLst>
                <a:ext uri="{FF2B5EF4-FFF2-40B4-BE49-F238E27FC236}">
                  <a16:creationId xmlns:a16="http://schemas.microsoft.com/office/drawing/2014/main" id="{59D3650D-A2E1-BA99-7A91-8AC8587D7A6F}"/>
                </a:ext>
              </a:extLst>
            </p:cNvPr>
            <p:cNvSpPr/>
            <p:nvPr/>
          </p:nvSpPr>
          <p:spPr>
            <a:xfrm>
              <a:off x="316832" y="1712734"/>
              <a:ext cx="769519" cy="769519"/>
            </a:xfrm>
            <a:prstGeom prst="ellipse">
              <a:avLst/>
            </a:prstGeom>
            <a:solidFill>
              <a:schemeClr val="accent2">
                <a:lumMod val="20000"/>
                <a:lumOff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4800" b="1">
                  <a:solidFill>
                    <a:schemeClr val="accent2"/>
                  </a:solidFill>
                </a:rPr>
                <a:t>1</a:t>
              </a:r>
            </a:p>
          </p:txBody>
        </p:sp>
        <p:sp>
          <p:nvSpPr>
            <p:cNvPr id="246" name="Circle: Hollow 166">
              <a:extLst>
                <a:ext uri="{FF2B5EF4-FFF2-40B4-BE49-F238E27FC236}">
                  <a16:creationId xmlns:a16="http://schemas.microsoft.com/office/drawing/2014/main" id="{D5AB81AD-42CA-499A-80D3-7DF1A36093B7}"/>
                </a:ext>
              </a:extLst>
            </p:cNvPr>
            <p:cNvSpPr/>
            <p:nvPr/>
          </p:nvSpPr>
          <p:spPr>
            <a:xfrm>
              <a:off x="276395" y="1672297"/>
              <a:ext cx="850392" cy="850392"/>
            </a:xfrm>
            <a:prstGeom prst="donut">
              <a:avLst>
                <a:gd name="adj" fmla="val 11529"/>
              </a:avLst>
            </a:prstGeom>
            <a:ln>
              <a:noFill/>
            </a:ln>
            <a:effectLst>
              <a:innerShdw blurRad="63500" dist="50800" dir="13500000">
                <a:prstClr val="black">
                  <a:alpha val="50000"/>
                </a:prstClr>
              </a:innerShdw>
            </a:effectLst>
          </p:spPr>
          <p:style>
            <a:lnRef idx="2">
              <a:schemeClr val="accent2">
                <a:shade val="50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4800" b="1">
                <a:solidFill>
                  <a:schemeClr val="accent2">
                    <a:lumMod val="20000"/>
                    <a:lumOff val="80000"/>
                  </a:schemeClr>
                </a:solidFill>
              </a:endParaRPr>
            </a:p>
          </p:txBody>
        </p:sp>
      </p:grpSp>
      <p:grpSp>
        <p:nvGrpSpPr>
          <p:cNvPr id="247" name="Group 167">
            <a:extLst>
              <a:ext uri="{FF2B5EF4-FFF2-40B4-BE49-F238E27FC236}">
                <a16:creationId xmlns:a16="http://schemas.microsoft.com/office/drawing/2014/main" id="{6EDFB53D-4874-FC69-2ED2-586B681D63AD}"/>
              </a:ext>
            </a:extLst>
          </p:cNvPr>
          <p:cNvGrpSpPr/>
          <p:nvPr/>
        </p:nvGrpSpPr>
        <p:grpSpPr>
          <a:xfrm>
            <a:off x="5601847" y="-4535934"/>
            <a:ext cx="850392" cy="850392"/>
            <a:chOff x="5638024" y="2698783"/>
            <a:chExt cx="850392" cy="850392"/>
          </a:xfrm>
        </p:grpSpPr>
        <p:sp>
          <p:nvSpPr>
            <p:cNvPr id="248" name="Oval 168">
              <a:extLst>
                <a:ext uri="{FF2B5EF4-FFF2-40B4-BE49-F238E27FC236}">
                  <a16:creationId xmlns:a16="http://schemas.microsoft.com/office/drawing/2014/main" id="{D8A936EE-C70E-F311-6A66-FFEEF838B9F4}"/>
                </a:ext>
              </a:extLst>
            </p:cNvPr>
            <p:cNvSpPr/>
            <p:nvPr/>
          </p:nvSpPr>
          <p:spPr>
            <a:xfrm>
              <a:off x="5678461" y="2739220"/>
              <a:ext cx="769519" cy="769519"/>
            </a:xfrm>
            <a:prstGeom prst="ellipse">
              <a:avLst/>
            </a:prstGeom>
            <a:solidFill>
              <a:schemeClr val="accent4">
                <a:lumMod val="20000"/>
                <a:lumOff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4800" b="1">
                  <a:solidFill>
                    <a:schemeClr val="accent4">
                      <a:lumMod val="75000"/>
                    </a:schemeClr>
                  </a:solidFill>
                </a:rPr>
                <a:t>3</a:t>
              </a:r>
            </a:p>
          </p:txBody>
        </p:sp>
        <p:sp>
          <p:nvSpPr>
            <p:cNvPr id="249" name="Circle: Hollow 169">
              <a:extLst>
                <a:ext uri="{FF2B5EF4-FFF2-40B4-BE49-F238E27FC236}">
                  <a16:creationId xmlns:a16="http://schemas.microsoft.com/office/drawing/2014/main" id="{ECFF258F-2E92-47E6-919B-0389FCFE1835}"/>
                </a:ext>
              </a:extLst>
            </p:cNvPr>
            <p:cNvSpPr/>
            <p:nvPr/>
          </p:nvSpPr>
          <p:spPr>
            <a:xfrm>
              <a:off x="5638024" y="2698783"/>
              <a:ext cx="850392" cy="850392"/>
            </a:xfrm>
            <a:prstGeom prst="donut">
              <a:avLst>
                <a:gd name="adj" fmla="val 11529"/>
              </a:avLst>
            </a:prstGeom>
            <a:solidFill>
              <a:schemeClr val="accent4"/>
            </a:solidFill>
            <a:ln>
              <a:noFill/>
            </a:ln>
            <a:effectLst>
              <a:innerShdw blurRad="63500" dist="50800" dir="13500000">
                <a:prstClr val="black">
                  <a:alpha val="50000"/>
                </a:prstClr>
              </a:innerShdw>
            </a:effectLst>
          </p:spPr>
          <p:style>
            <a:lnRef idx="2">
              <a:schemeClr val="accent2">
                <a:shade val="50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4800" b="1">
                <a:solidFill>
                  <a:schemeClr val="accent2">
                    <a:lumMod val="20000"/>
                    <a:lumOff val="80000"/>
                  </a:schemeClr>
                </a:solidFill>
              </a:endParaRPr>
            </a:p>
          </p:txBody>
        </p:sp>
      </p:grpSp>
      <p:grpSp>
        <p:nvGrpSpPr>
          <p:cNvPr id="250" name="Group 170">
            <a:extLst>
              <a:ext uri="{FF2B5EF4-FFF2-40B4-BE49-F238E27FC236}">
                <a16:creationId xmlns:a16="http://schemas.microsoft.com/office/drawing/2014/main" id="{4BAB3C3D-EF32-A59B-7623-788851842FA2}"/>
              </a:ext>
            </a:extLst>
          </p:cNvPr>
          <p:cNvGrpSpPr/>
          <p:nvPr/>
        </p:nvGrpSpPr>
        <p:grpSpPr>
          <a:xfrm>
            <a:off x="4720647" y="-1923472"/>
            <a:ext cx="850392" cy="850392"/>
            <a:chOff x="4756824" y="5311245"/>
            <a:chExt cx="850392" cy="850392"/>
          </a:xfrm>
        </p:grpSpPr>
        <p:sp>
          <p:nvSpPr>
            <p:cNvPr id="251" name="Oval 171">
              <a:extLst>
                <a:ext uri="{FF2B5EF4-FFF2-40B4-BE49-F238E27FC236}">
                  <a16:creationId xmlns:a16="http://schemas.microsoft.com/office/drawing/2014/main" id="{FB0B2786-E377-CA1A-6B3B-C40920C43AEF}"/>
                </a:ext>
              </a:extLst>
            </p:cNvPr>
            <p:cNvSpPr/>
            <p:nvPr/>
          </p:nvSpPr>
          <p:spPr>
            <a:xfrm>
              <a:off x="4797261" y="5351682"/>
              <a:ext cx="769519" cy="769519"/>
            </a:xfrm>
            <a:prstGeom prst="ellipse">
              <a:avLst/>
            </a:prstGeom>
            <a:solidFill>
              <a:schemeClr val="accent3">
                <a:lumMod val="20000"/>
                <a:lumOff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4800" b="1">
                  <a:solidFill>
                    <a:schemeClr val="accent3"/>
                  </a:solidFill>
                </a:rPr>
                <a:t>2</a:t>
              </a:r>
            </a:p>
          </p:txBody>
        </p:sp>
        <p:sp>
          <p:nvSpPr>
            <p:cNvPr id="252" name="Circle: Hollow 172">
              <a:extLst>
                <a:ext uri="{FF2B5EF4-FFF2-40B4-BE49-F238E27FC236}">
                  <a16:creationId xmlns:a16="http://schemas.microsoft.com/office/drawing/2014/main" id="{B56F480A-34CA-89FB-6AF9-A3142053AE26}"/>
                </a:ext>
              </a:extLst>
            </p:cNvPr>
            <p:cNvSpPr/>
            <p:nvPr/>
          </p:nvSpPr>
          <p:spPr>
            <a:xfrm>
              <a:off x="4756824" y="5311245"/>
              <a:ext cx="850392" cy="850392"/>
            </a:xfrm>
            <a:prstGeom prst="donut">
              <a:avLst>
                <a:gd name="adj" fmla="val 11529"/>
              </a:avLst>
            </a:prstGeom>
            <a:solidFill>
              <a:schemeClr val="accent3"/>
            </a:solidFill>
            <a:ln>
              <a:noFill/>
            </a:ln>
            <a:effectLst>
              <a:innerShdw blurRad="63500" dist="50800" dir="13500000">
                <a:prstClr val="black">
                  <a:alpha val="50000"/>
                </a:prstClr>
              </a:innerShdw>
            </a:effectLst>
          </p:spPr>
          <p:style>
            <a:lnRef idx="2">
              <a:schemeClr val="accent2">
                <a:shade val="50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4800" b="1">
                <a:solidFill>
                  <a:schemeClr val="accent2">
                    <a:lumMod val="20000"/>
                    <a:lumOff val="80000"/>
                  </a:schemeClr>
                </a:solidFill>
              </a:endParaRPr>
            </a:p>
          </p:txBody>
        </p:sp>
      </p:grpSp>
      <p:grpSp>
        <p:nvGrpSpPr>
          <p:cNvPr id="253" name="Group 173">
            <a:extLst>
              <a:ext uri="{FF2B5EF4-FFF2-40B4-BE49-F238E27FC236}">
                <a16:creationId xmlns:a16="http://schemas.microsoft.com/office/drawing/2014/main" id="{312A5CAC-0682-9F9A-812F-6CF63682534F}"/>
              </a:ext>
            </a:extLst>
          </p:cNvPr>
          <p:cNvGrpSpPr/>
          <p:nvPr/>
        </p:nvGrpSpPr>
        <p:grpSpPr>
          <a:xfrm>
            <a:off x="9334210" y="-4474508"/>
            <a:ext cx="850392" cy="850392"/>
            <a:chOff x="9370387" y="2760209"/>
            <a:chExt cx="850392" cy="850392"/>
          </a:xfrm>
        </p:grpSpPr>
        <p:sp>
          <p:nvSpPr>
            <p:cNvPr id="254" name="Oval 174">
              <a:extLst>
                <a:ext uri="{FF2B5EF4-FFF2-40B4-BE49-F238E27FC236}">
                  <a16:creationId xmlns:a16="http://schemas.microsoft.com/office/drawing/2014/main" id="{278A6D07-8741-1556-3C57-D3916EB30A82}"/>
                </a:ext>
              </a:extLst>
            </p:cNvPr>
            <p:cNvSpPr/>
            <p:nvPr/>
          </p:nvSpPr>
          <p:spPr>
            <a:xfrm>
              <a:off x="9410824" y="2800646"/>
              <a:ext cx="769519" cy="769519"/>
            </a:xfrm>
            <a:prstGeom prst="ellipse">
              <a:avLst/>
            </a:prstGeom>
            <a:solidFill>
              <a:schemeClr val="accent5">
                <a:lumMod val="20000"/>
                <a:lumOff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4800" b="1">
                  <a:solidFill>
                    <a:schemeClr val="accent5"/>
                  </a:solidFill>
                </a:rPr>
                <a:t>4</a:t>
              </a:r>
            </a:p>
          </p:txBody>
        </p:sp>
        <p:sp>
          <p:nvSpPr>
            <p:cNvPr id="255" name="Circle: Hollow 175">
              <a:extLst>
                <a:ext uri="{FF2B5EF4-FFF2-40B4-BE49-F238E27FC236}">
                  <a16:creationId xmlns:a16="http://schemas.microsoft.com/office/drawing/2014/main" id="{C80272CA-BD3C-6184-79DF-115A7068D864}"/>
                </a:ext>
              </a:extLst>
            </p:cNvPr>
            <p:cNvSpPr/>
            <p:nvPr/>
          </p:nvSpPr>
          <p:spPr>
            <a:xfrm>
              <a:off x="9370387" y="2760209"/>
              <a:ext cx="850392" cy="850392"/>
            </a:xfrm>
            <a:prstGeom prst="donut">
              <a:avLst>
                <a:gd name="adj" fmla="val 11529"/>
              </a:avLst>
            </a:prstGeom>
            <a:solidFill>
              <a:schemeClr val="accent5"/>
            </a:solidFill>
            <a:ln>
              <a:noFill/>
            </a:ln>
            <a:effectLst>
              <a:innerShdw blurRad="63500" dist="50800" dir="13500000">
                <a:prstClr val="black">
                  <a:alpha val="50000"/>
                </a:prstClr>
              </a:innerShdw>
            </a:effectLst>
          </p:spPr>
          <p:style>
            <a:lnRef idx="2">
              <a:schemeClr val="accent2">
                <a:shade val="50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4800" b="1">
                <a:solidFill>
                  <a:schemeClr val="accent2">
                    <a:lumMod val="20000"/>
                    <a:lumOff val="80000"/>
                  </a:schemeClr>
                </a:solidFill>
              </a:endParaRPr>
            </a:p>
          </p:txBody>
        </p:sp>
      </p:grpSp>
      <p:sp>
        <p:nvSpPr>
          <p:cNvPr id="256" name="TextBox 176">
            <a:extLst>
              <a:ext uri="{FF2B5EF4-FFF2-40B4-BE49-F238E27FC236}">
                <a16:creationId xmlns:a16="http://schemas.microsoft.com/office/drawing/2014/main" id="{06D4C116-BAB4-EBB4-4970-BDBA0AC97059}"/>
              </a:ext>
            </a:extLst>
          </p:cNvPr>
          <p:cNvSpPr txBox="1"/>
          <p:nvPr/>
        </p:nvSpPr>
        <p:spPr>
          <a:xfrm>
            <a:off x="281746" y="8527692"/>
            <a:ext cx="3347000" cy="494879"/>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4800" dirty="0"/>
              <a:t>Perspectives </a:t>
            </a:r>
          </a:p>
        </p:txBody>
      </p:sp>
      <p:cxnSp>
        <p:nvCxnSpPr>
          <p:cNvPr id="257" name="Straight Connector 177">
            <a:extLst>
              <a:ext uri="{FF2B5EF4-FFF2-40B4-BE49-F238E27FC236}">
                <a16:creationId xmlns:a16="http://schemas.microsoft.com/office/drawing/2014/main" id="{D688A34C-2465-A4F3-76DE-C59B7D67C49B}"/>
              </a:ext>
            </a:extLst>
          </p:cNvPr>
          <p:cNvCxnSpPr/>
          <p:nvPr/>
        </p:nvCxnSpPr>
        <p:spPr>
          <a:xfrm>
            <a:off x="299484" y="8182198"/>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258" name="Oval 178">
            <a:extLst>
              <a:ext uri="{FF2B5EF4-FFF2-40B4-BE49-F238E27FC236}">
                <a16:creationId xmlns:a16="http://schemas.microsoft.com/office/drawing/2014/main" id="{2FD5DB50-1400-ECA9-5232-1D8CA8F209A2}"/>
              </a:ext>
            </a:extLst>
          </p:cNvPr>
          <p:cNvSpPr/>
          <p:nvPr/>
        </p:nvSpPr>
        <p:spPr>
          <a:xfrm>
            <a:off x="5842207" y="7897292"/>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59" name="Graphic 179">
            <a:extLst>
              <a:ext uri="{FF2B5EF4-FFF2-40B4-BE49-F238E27FC236}">
                <a16:creationId xmlns:a16="http://schemas.microsoft.com/office/drawing/2014/main" id="{C4EADB5A-FBE8-9275-1713-612AEE7363F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70000" y="8025085"/>
            <a:ext cx="252000" cy="252000"/>
          </a:xfrm>
          <a:prstGeom prst="rect">
            <a:avLst/>
          </a:prstGeom>
        </p:spPr>
      </p:pic>
      <p:sp>
        <p:nvSpPr>
          <p:cNvPr id="260" name="TextBox 180">
            <a:extLst>
              <a:ext uri="{FF2B5EF4-FFF2-40B4-BE49-F238E27FC236}">
                <a16:creationId xmlns:a16="http://schemas.microsoft.com/office/drawing/2014/main" id="{87F9827F-08F0-33AA-ECA0-4C0C39FCDD0C}"/>
              </a:ext>
            </a:extLst>
          </p:cNvPr>
          <p:cNvSpPr txBox="1"/>
          <p:nvPr/>
        </p:nvSpPr>
        <p:spPr>
          <a:xfrm>
            <a:off x="6072369" y="12016046"/>
            <a:ext cx="2894711" cy="781752"/>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000" dirty="0"/>
              <a:t>Calendrier de planification</a:t>
            </a:r>
            <a:endParaRPr lang="en-GB" sz="4000" dirty="0">
              <a:solidFill>
                <a:schemeClr val="bg1"/>
              </a:solidFill>
            </a:endParaRPr>
          </a:p>
        </p:txBody>
      </p:sp>
      <p:sp>
        <p:nvSpPr>
          <p:cNvPr id="261" name="TextBox 181">
            <a:extLst>
              <a:ext uri="{FF2B5EF4-FFF2-40B4-BE49-F238E27FC236}">
                <a16:creationId xmlns:a16="http://schemas.microsoft.com/office/drawing/2014/main" id="{1BE8CDFF-EB88-4374-E747-EF140D34FEB6}"/>
              </a:ext>
            </a:extLst>
          </p:cNvPr>
          <p:cNvSpPr txBox="1"/>
          <p:nvPr/>
        </p:nvSpPr>
        <p:spPr>
          <a:xfrm>
            <a:off x="9066697" y="12016046"/>
            <a:ext cx="2233627" cy="781752"/>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000" dirty="0"/>
              <a:t>Mode </a:t>
            </a:r>
          </a:p>
          <a:p>
            <a:r>
              <a:rPr lang="fr-FR" sz="4000" dirty="0"/>
              <a:t>hors ligne</a:t>
            </a:r>
            <a:endParaRPr lang="en-GB" sz="4000" dirty="0">
              <a:solidFill>
                <a:schemeClr val="bg1"/>
              </a:solidFill>
            </a:endParaRPr>
          </a:p>
        </p:txBody>
      </p:sp>
      <p:sp>
        <p:nvSpPr>
          <p:cNvPr id="262" name="TextBox 182">
            <a:extLst>
              <a:ext uri="{FF2B5EF4-FFF2-40B4-BE49-F238E27FC236}">
                <a16:creationId xmlns:a16="http://schemas.microsoft.com/office/drawing/2014/main" id="{3058FA38-215E-9D8C-1296-DB9BB3EF7BDF}"/>
              </a:ext>
            </a:extLst>
          </p:cNvPr>
          <p:cNvSpPr txBox="1"/>
          <p:nvPr/>
        </p:nvSpPr>
        <p:spPr>
          <a:xfrm>
            <a:off x="3303681" y="12016046"/>
            <a:ext cx="2768688" cy="781752"/>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000" dirty="0"/>
              <a:t>Checklists intelligentes</a:t>
            </a:r>
            <a:endParaRPr lang="en-GB" sz="4000" dirty="0">
              <a:solidFill>
                <a:schemeClr val="bg1"/>
              </a:solidFill>
            </a:endParaRPr>
          </a:p>
        </p:txBody>
      </p:sp>
      <p:sp>
        <p:nvSpPr>
          <p:cNvPr id="263" name="TextBox 183">
            <a:extLst>
              <a:ext uri="{FF2B5EF4-FFF2-40B4-BE49-F238E27FC236}">
                <a16:creationId xmlns:a16="http://schemas.microsoft.com/office/drawing/2014/main" id="{6D2B715B-364C-8C29-2058-7D8181F0747D}"/>
              </a:ext>
            </a:extLst>
          </p:cNvPr>
          <p:cNvSpPr txBox="1"/>
          <p:nvPr/>
        </p:nvSpPr>
        <p:spPr>
          <a:xfrm>
            <a:off x="749889" y="12016046"/>
            <a:ext cx="2503983" cy="781752"/>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4000" dirty="0">
                <a:solidFill>
                  <a:schemeClr val="bg1"/>
                </a:solidFill>
              </a:rPr>
              <a:t>Dashboard analytique</a:t>
            </a:r>
            <a:endParaRPr lang="en-GB" sz="4000" dirty="0">
              <a:solidFill>
                <a:schemeClr val="bg1"/>
              </a:solidFill>
            </a:endParaRPr>
          </a:p>
        </p:txBody>
      </p:sp>
      <p:grpSp>
        <p:nvGrpSpPr>
          <p:cNvPr id="264" name="Group 184">
            <a:extLst>
              <a:ext uri="{FF2B5EF4-FFF2-40B4-BE49-F238E27FC236}">
                <a16:creationId xmlns:a16="http://schemas.microsoft.com/office/drawing/2014/main" id="{1EFCE09D-5C05-8302-6BFC-8C9BAEC73065}"/>
              </a:ext>
            </a:extLst>
          </p:cNvPr>
          <p:cNvGrpSpPr/>
          <p:nvPr/>
        </p:nvGrpSpPr>
        <p:grpSpPr>
          <a:xfrm>
            <a:off x="669310" y="10019826"/>
            <a:ext cx="2768688" cy="1700905"/>
            <a:chOff x="838200" y="1881861"/>
            <a:chExt cx="2768688" cy="1700905"/>
          </a:xfrm>
        </p:grpSpPr>
        <p:sp>
          <p:nvSpPr>
            <p:cNvPr id="265" name="Freeform 10">
              <a:extLst>
                <a:ext uri="{FF2B5EF4-FFF2-40B4-BE49-F238E27FC236}">
                  <a16:creationId xmlns:a16="http://schemas.microsoft.com/office/drawing/2014/main" id="{19AA1468-DE19-8EE9-9A2E-04079D139324}"/>
                </a:ext>
              </a:extLst>
            </p:cNvPr>
            <p:cNvSpPr/>
            <p:nvPr/>
          </p:nvSpPr>
          <p:spPr>
            <a:xfrm>
              <a:off x="838200" y="1881861"/>
              <a:ext cx="1125882" cy="850453"/>
            </a:xfrm>
            <a:custGeom>
              <a:avLst/>
              <a:gdLst>
                <a:gd name="connsiteX0" fmla="*/ 187083 w 187082"/>
                <a:gd name="connsiteY0" fmla="*/ 0 h 141316"/>
                <a:gd name="connsiteX1" fmla="*/ 38944 w 187082"/>
                <a:gd name="connsiteY1" fmla="*/ 0 h 141316"/>
                <a:gd name="connsiteX2" fmla="*/ 11474 w 187082"/>
                <a:gd name="connsiteY2" fmla="*/ 77528 h 141316"/>
                <a:gd name="connsiteX3" fmla="*/ 66168 w 187082"/>
                <a:gd name="connsiteY3" fmla="*/ 141316 h 141316"/>
                <a:gd name="connsiteX4" fmla="*/ 187083 w 187082"/>
                <a:gd name="connsiteY4" fmla="*/ 0 h 141316"/>
                <a:gd name="connsiteX0" fmla="*/ 187083 w 187083"/>
                <a:gd name="connsiteY0" fmla="*/ 0 h 141316"/>
                <a:gd name="connsiteX1" fmla="*/ 38944 w 187083"/>
                <a:gd name="connsiteY1" fmla="*/ 0 h 141316"/>
                <a:gd name="connsiteX2" fmla="*/ 11474 w 187083"/>
                <a:gd name="connsiteY2" fmla="*/ 77528 h 141316"/>
                <a:gd name="connsiteX3" fmla="*/ 66168 w 187083"/>
                <a:gd name="connsiteY3" fmla="*/ 141316 h 141316"/>
                <a:gd name="connsiteX4" fmla="*/ 124316 w 187083"/>
                <a:gd name="connsiteY4" fmla="*/ 70607 h 141316"/>
                <a:gd name="connsiteX5" fmla="*/ 187083 w 187083"/>
                <a:gd name="connsiteY5" fmla="*/ 0 h 141316"/>
                <a:gd name="connsiteX0" fmla="*/ 187083 w 187083"/>
                <a:gd name="connsiteY0" fmla="*/ 0 h 141316"/>
                <a:gd name="connsiteX1" fmla="*/ 38944 w 187083"/>
                <a:gd name="connsiteY1" fmla="*/ 0 h 141316"/>
                <a:gd name="connsiteX2" fmla="*/ 11474 w 187083"/>
                <a:gd name="connsiteY2" fmla="*/ 77528 h 141316"/>
                <a:gd name="connsiteX3" fmla="*/ 66168 w 187083"/>
                <a:gd name="connsiteY3" fmla="*/ 141316 h 141316"/>
                <a:gd name="connsiteX4" fmla="*/ 147338 w 187083"/>
                <a:gd name="connsiteY4" fmla="*/ 82118 h 141316"/>
                <a:gd name="connsiteX5" fmla="*/ 187083 w 187083"/>
                <a:gd name="connsiteY5" fmla="*/ 0 h 14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083" h="141316">
                  <a:moveTo>
                    <a:pt x="187083" y="0"/>
                  </a:moveTo>
                  <a:lnTo>
                    <a:pt x="38944" y="0"/>
                  </a:lnTo>
                  <a:cubicBezTo>
                    <a:pt x="4361" y="0"/>
                    <a:pt x="-13052" y="48823"/>
                    <a:pt x="11474" y="77528"/>
                  </a:cubicBezTo>
                  <a:lnTo>
                    <a:pt x="66168" y="141316"/>
                  </a:lnTo>
                  <a:lnTo>
                    <a:pt x="147338" y="82118"/>
                  </a:lnTo>
                  <a:lnTo>
                    <a:pt x="187083" y="0"/>
                  </a:lnTo>
                  <a:close/>
                </a:path>
              </a:pathLst>
            </a:custGeom>
            <a:solidFill>
              <a:schemeClr val="accent2">
                <a:lumMod val="75000"/>
              </a:schemeClr>
            </a:solidFill>
            <a:ln w="245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66" name="Freeform 11">
              <a:extLst>
                <a:ext uri="{FF2B5EF4-FFF2-40B4-BE49-F238E27FC236}">
                  <a16:creationId xmlns:a16="http://schemas.microsoft.com/office/drawing/2014/main" id="{9D4AE27E-0F8A-FE8E-C85E-7AABA3DE4E1A}"/>
                </a:ext>
              </a:extLst>
            </p:cNvPr>
            <p:cNvSpPr/>
            <p:nvPr/>
          </p:nvSpPr>
          <p:spPr>
            <a:xfrm>
              <a:off x="838200" y="1881861"/>
              <a:ext cx="2768688" cy="1700905"/>
            </a:xfrm>
            <a:custGeom>
              <a:avLst/>
              <a:gdLst>
                <a:gd name="connsiteX0" fmla="*/ 357541 w 460061"/>
                <a:gd name="connsiteY0" fmla="*/ 21590 h 282632"/>
                <a:gd name="connsiteX1" fmla="*/ 312658 w 460061"/>
                <a:gd name="connsiteY1" fmla="*/ 0 h 282632"/>
                <a:gd name="connsiteX2" fmla="*/ 187083 w 460061"/>
                <a:gd name="connsiteY2" fmla="*/ 0 h 282632"/>
                <a:gd name="connsiteX3" fmla="*/ 66168 w 460061"/>
                <a:gd name="connsiteY3" fmla="*/ 141316 h 282632"/>
                <a:gd name="connsiteX4" fmla="*/ 11474 w 460061"/>
                <a:gd name="connsiteY4" fmla="*/ 205105 h 282632"/>
                <a:gd name="connsiteX5" fmla="*/ 38944 w 460061"/>
                <a:gd name="connsiteY5" fmla="*/ 282633 h 282632"/>
                <a:gd name="connsiteX6" fmla="*/ 312658 w 460061"/>
                <a:gd name="connsiteY6" fmla="*/ 282633 h 282632"/>
                <a:gd name="connsiteX7" fmla="*/ 357541 w 460061"/>
                <a:gd name="connsiteY7" fmla="*/ 261043 h 282632"/>
                <a:gd name="connsiteX8" fmla="*/ 460061 w 460061"/>
                <a:gd name="connsiteY8" fmla="*/ 141562 h 282632"/>
                <a:gd name="connsiteX9" fmla="*/ 357541 w 460061"/>
                <a:gd name="connsiteY9" fmla="*/ 22081 h 28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0061" h="282632">
                  <a:moveTo>
                    <a:pt x="357541" y="21590"/>
                  </a:moveTo>
                  <a:cubicBezTo>
                    <a:pt x="345768" y="7606"/>
                    <a:pt x="329581" y="0"/>
                    <a:pt x="312658" y="0"/>
                  </a:cubicBezTo>
                  <a:lnTo>
                    <a:pt x="187083" y="0"/>
                  </a:lnTo>
                  <a:lnTo>
                    <a:pt x="66168" y="141316"/>
                  </a:lnTo>
                  <a:lnTo>
                    <a:pt x="11474" y="205105"/>
                  </a:lnTo>
                  <a:cubicBezTo>
                    <a:pt x="-13052" y="233810"/>
                    <a:pt x="4361" y="282633"/>
                    <a:pt x="38944" y="282633"/>
                  </a:cubicBezTo>
                  <a:lnTo>
                    <a:pt x="312658" y="282633"/>
                  </a:lnTo>
                  <a:cubicBezTo>
                    <a:pt x="329581" y="282633"/>
                    <a:pt x="345523" y="274782"/>
                    <a:pt x="357541" y="261043"/>
                  </a:cubicBezTo>
                  <a:lnTo>
                    <a:pt x="460061" y="141562"/>
                  </a:lnTo>
                  <a:lnTo>
                    <a:pt x="357541" y="22081"/>
                  </a:lnTo>
                  <a:close/>
                </a:path>
              </a:pathLst>
            </a:custGeom>
            <a:solidFill>
              <a:schemeClr val="accent2"/>
            </a:solidFill>
            <a:ln w="245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67" name="TextBox 37">
              <a:extLst>
                <a:ext uri="{FF2B5EF4-FFF2-40B4-BE49-F238E27FC236}">
                  <a16:creationId xmlns:a16="http://schemas.microsoft.com/office/drawing/2014/main" id="{65B590E2-B857-1FD5-E802-B6D278178080}"/>
                </a:ext>
              </a:extLst>
            </p:cNvPr>
            <p:cNvSpPr txBox="1"/>
            <p:nvPr/>
          </p:nvSpPr>
          <p:spPr>
            <a:xfrm>
              <a:off x="955008" y="1881861"/>
              <a:ext cx="601447" cy="58477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b="1" dirty="0">
                  <a:solidFill>
                    <a:schemeClr val="bg1"/>
                  </a:solidFill>
                </a:rPr>
                <a:t>01</a:t>
              </a:r>
            </a:p>
          </p:txBody>
        </p:sp>
      </p:grpSp>
      <p:pic>
        <p:nvPicPr>
          <p:cNvPr id="268" name="Graphic 38">
            <a:extLst>
              <a:ext uri="{FF2B5EF4-FFF2-40B4-BE49-F238E27FC236}">
                <a16:creationId xmlns:a16="http://schemas.microsoft.com/office/drawing/2014/main" id="{9674D72D-4254-4363-18AC-5FC6C9F6668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17008" y="10187388"/>
            <a:ext cx="1375510" cy="1375510"/>
          </a:xfrm>
          <a:prstGeom prst="rect">
            <a:avLst/>
          </a:prstGeom>
        </p:spPr>
      </p:pic>
      <p:grpSp>
        <p:nvGrpSpPr>
          <p:cNvPr id="269" name="Group 189">
            <a:extLst>
              <a:ext uri="{FF2B5EF4-FFF2-40B4-BE49-F238E27FC236}">
                <a16:creationId xmlns:a16="http://schemas.microsoft.com/office/drawing/2014/main" id="{1575ABB5-B3BE-D121-B63C-0D25EDC5AA29}"/>
              </a:ext>
            </a:extLst>
          </p:cNvPr>
          <p:cNvGrpSpPr/>
          <p:nvPr/>
        </p:nvGrpSpPr>
        <p:grpSpPr>
          <a:xfrm>
            <a:off x="3394989" y="10014962"/>
            <a:ext cx="2768688" cy="1700905"/>
            <a:chOff x="3416835" y="1881861"/>
            <a:chExt cx="2768688" cy="1700905"/>
          </a:xfrm>
        </p:grpSpPr>
        <p:sp>
          <p:nvSpPr>
            <p:cNvPr id="270" name="Freeform 8">
              <a:extLst>
                <a:ext uri="{FF2B5EF4-FFF2-40B4-BE49-F238E27FC236}">
                  <a16:creationId xmlns:a16="http://schemas.microsoft.com/office/drawing/2014/main" id="{E31424E2-7D71-0BA8-817A-D3501856D081}"/>
                </a:ext>
              </a:extLst>
            </p:cNvPr>
            <p:cNvSpPr/>
            <p:nvPr/>
          </p:nvSpPr>
          <p:spPr>
            <a:xfrm>
              <a:off x="3416835" y="1881861"/>
              <a:ext cx="1125882" cy="850453"/>
            </a:xfrm>
            <a:custGeom>
              <a:avLst/>
              <a:gdLst>
                <a:gd name="connsiteX0" fmla="*/ 187083 w 187082"/>
                <a:gd name="connsiteY0" fmla="*/ 0 h 141316"/>
                <a:gd name="connsiteX1" fmla="*/ 38944 w 187082"/>
                <a:gd name="connsiteY1" fmla="*/ 0 h 141316"/>
                <a:gd name="connsiteX2" fmla="*/ 11474 w 187082"/>
                <a:gd name="connsiteY2" fmla="*/ 77528 h 141316"/>
                <a:gd name="connsiteX3" fmla="*/ 66168 w 187082"/>
                <a:gd name="connsiteY3" fmla="*/ 141316 h 141316"/>
                <a:gd name="connsiteX4" fmla="*/ 187083 w 187082"/>
                <a:gd name="connsiteY4" fmla="*/ 0 h 141316"/>
                <a:gd name="connsiteX0" fmla="*/ 187083 w 187083"/>
                <a:gd name="connsiteY0" fmla="*/ 0 h 141316"/>
                <a:gd name="connsiteX1" fmla="*/ 38944 w 187083"/>
                <a:gd name="connsiteY1" fmla="*/ 0 h 141316"/>
                <a:gd name="connsiteX2" fmla="*/ 11474 w 187083"/>
                <a:gd name="connsiteY2" fmla="*/ 77528 h 141316"/>
                <a:gd name="connsiteX3" fmla="*/ 66168 w 187083"/>
                <a:gd name="connsiteY3" fmla="*/ 141316 h 141316"/>
                <a:gd name="connsiteX4" fmla="*/ 124626 w 187083"/>
                <a:gd name="connsiteY4" fmla="*/ 70607 h 141316"/>
                <a:gd name="connsiteX5" fmla="*/ 187083 w 187083"/>
                <a:gd name="connsiteY5" fmla="*/ 0 h 141316"/>
                <a:gd name="connsiteX0" fmla="*/ 187083 w 187083"/>
                <a:gd name="connsiteY0" fmla="*/ 0 h 141316"/>
                <a:gd name="connsiteX1" fmla="*/ 38944 w 187083"/>
                <a:gd name="connsiteY1" fmla="*/ 0 h 141316"/>
                <a:gd name="connsiteX2" fmla="*/ 11474 w 187083"/>
                <a:gd name="connsiteY2" fmla="*/ 77528 h 141316"/>
                <a:gd name="connsiteX3" fmla="*/ 66168 w 187083"/>
                <a:gd name="connsiteY3" fmla="*/ 141316 h 141316"/>
                <a:gd name="connsiteX4" fmla="*/ 161460 w 187083"/>
                <a:gd name="connsiteY4" fmla="*/ 89024 h 141316"/>
                <a:gd name="connsiteX5" fmla="*/ 187083 w 187083"/>
                <a:gd name="connsiteY5" fmla="*/ 0 h 14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083" h="141316">
                  <a:moveTo>
                    <a:pt x="187083" y="0"/>
                  </a:moveTo>
                  <a:lnTo>
                    <a:pt x="38944" y="0"/>
                  </a:lnTo>
                  <a:cubicBezTo>
                    <a:pt x="4361" y="0"/>
                    <a:pt x="-13052" y="48823"/>
                    <a:pt x="11474" y="77528"/>
                  </a:cubicBezTo>
                  <a:lnTo>
                    <a:pt x="66168" y="141316"/>
                  </a:lnTo>
                  <a:lnTo>
                    <a:pt x="161460" y="89024"/>
                  </a:lnTo>
                  <a:lnTo>
                    <a:pt x="187083" y="0"/>
                  </a:lnTo>
                  <a:close/>
                </a:path>
              </a:pathLst>
            </a:custGeom>
            <a:solidFill>
              <a:schemeClr val="accent4">
                <a:lumMod val="75000"/>
              </a:schemeClr>
            </a:solidFill>
            <a:ln w="245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1" name="Freeform 9">
              <a:extLst>
                <a:ext uri="{FF2B5EF4-FFF2-40B4-BE49-F238E27FC236}">
                  <a16:creationId xmlns:a16="http://schemas.microsoft.com/office/drawing/2014/main" id="{E980EE96-349F-AB67-1E47-2D212885E5B7}"/>
                </a:ext>
              </a:extLst>
            </p:cNvPr>
            <p:cNvSpPr/>
            <p:nvPr/>
          </p:nvSpPr>
          <p:spPr>
            <a:xfrm>
              <a:off x="3416835" y="1881861"/>
              <a:ext cx="2768688" cy="1700905"/>
            </a:xfrm>
            <a:custGeom>
              <a:avLst/>
              <a:gdLst>
                <a:gd name="connsiteX0" fmla="*/ 357541 w 460061"/>
                <a:gd name="connsiteY0" fmla="*/ 21590 h 282632"/>
                <a:gd name="connsiteX1" fmla="*/ 312658 w 460061"/>
                <a:gd name="connsiteY1" fmla="*/ 0 h 282632"/>
                <a:gd name="connsiteX2" fmla="*/ 187083 w 460061"/>
                <a:gd name="connsiteY2" fmla="*/ 0 h 282632"/>
                <a:gd name="connsiteX3" fmla="*/ 66168 w 460061"/>
                <a:gd name="connsiteY3" fmla="*/ 141316 h 282632"/>
                <a:gd name="connsiteX4" fmla="*/ 11474 w 460061"/>
                <a:gd name="connsiteY4" fmla="*/ 205105 h 282632"/>
                <a:gd name="connsiteX5" fmla="*/ 38944 w 460061"/>
                <a:gd name="connsiteY5" fmla="*/ 282633 h 282632"/>
                <a:gd name="connsiteX6" fmla="*/ 312658 w 460061"/>
                <a:gd name="connsiteY6" fmla="*/ 282633 h 282632"/>
                <a:gd name="connsiteX7" fmla="*/ 357541 w 460061"/>
                <a:gd name="connsiteY7" fmla="*/ 261043 h 282632"/>
                <a:gd name="connsiteX8" fmla="*/ 460061 w 460061"/>
                <a:gd name="connsiteY8" fmla="*/ 141562 h 282632"/>
                <a:gd name="connsiteX9" fmla="*/ 357541 w 460061"/>
                <a:gd name="connsiteY9" fmla="*/ 22081 h 28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0061" h="282632">
                  <a:moveTo>
                    <a:pt x="357541" y="21590"/>
                  </a:moveTo>
                  <a:cubicBezTo>
                    <a:pt x="345768" y="7606"/>
                    <a:pt x="329581" y="0"/>
                    <a:pt x="312658" y="0"/>
                  </a:cubicBezTo>
                  <a:lnTo>
                    <a:pt x="187083" y="0"/>
                  </a:lnTo>
                  <a:lnTo>
                    <a:pt x="66168" y="141316"/>
                  </a:lnTo>
                  <a:lnTo>
                    <a:pt x="11474" y="205105"/>
                  </a:lnTo>
                  <a:cubicBezTo>
                    <a:pt x="-13052" y="233810"/>
                    <a:pt x="4361" y="282633"/>
                    <a:pt x="38944" y="282633"/>
                  </a:cubicBezTo>
                  <a:lnTo>
                    <a:pt x="312658" y="282633"/>
                  </a:lnTo>
                  <a:cubicBezTo>
                    <a:pt x="329581" y="282633"/>
                    <a:pt x="345523" y="274782"/>
                    <a:pt x="357541" y="261043"/>
                  </a:cubicBezTo>
                  <a:lnTo>
                    <a:pt x="460061" y="141562"/>
                  </a:lnTo>
                  <a:lnTo>
                    <a:pt x="357541" y="22081"/>
                  </a:lnTo>
                  <a:close/>
                </a:path>
              </a:pathLst>
            </a:custGeom>
            <a:solidFill>
              <a:schemeClr val="accent4"/>
            </a:solidFill>
            <a:ln w="245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2" name="TextBox 42">
              <a:extLst>
                <a:ext uri="{FF2B5EF4-FFF2-40B4-BE49-F238E27FC236}">
                  <a16:creationId xmlns:a16="http://schemas.microsoft.com/office/drawing/2014/main" id="{CF04D5AD-A78B-B496-A08F-7F8357A5F6E9}"/>
                </a:ext>
              </a:extLst>
            </p:cNvPr>
            <p:cNvSpPr txBox="1"/>
            <p:nvPr/>
          </p:nvSpPr>
          <p:spPr>
            <a:xfrm>
              <a:off x="3502852" y="1881861"/>
              <a:ext cx="601447" cy="58477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b="1" dirty="0">
                  <a:solidFill>
                    <a:schemeClr val="bg1"/>
                  </a:solidFill>
                </a:rPr>
                <a:t>02</a:t>
              </a:r>
            </a:p>
          </p:txBody>
        </p:sp>
      </p:grpSp>
      <p:pic>
        <p:nvPicPr>
          <p:cNvPr id="273" name="Graphic 43">
            <a:extLst>
              <a:ext uri="{FF2B5EF4-FFF2-40B4-BE49-F238E27FC236}">
                <a16:creationId xmlns:a16="http://schemas.microsoft.com/office/drawing/2014/main" id="{0FD5B54B-76DC-2F98-C406-5CAA697D3D1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56960" y="10320014"/>
            <a:ext cx="1125876" cy="1125876"/>
          </a:xfrm>
          <a:prstGeom prst="rect">
            <a:avLst/>
          </a:prstGeom>
        </p:spPr>
      </p:pic>
      <p:grpSp>
        <p:nvGrpSpPr>
          <p:cNvPr id="274" name="Group 194">
            <a:extLst>
              <a:ext uri="{FF2B5EF4-FFF2-40B4-BE49-F238E27FC236}">
                <a16:creationId xmlns:a16="http://schemas.microsoft.com/office/drawing/2014/main" id="{A58F7FE1-C6AC-7CD7-D68B-75C052B7D0D4}"/>
              </a:ext>
            </a:extLst>
          </p:cNvPr>
          <p:cNvGrpSpPr/>
          <p:nvPr/>
        </p:nvGrpSpPr>
        <p:grpSpPr>
          <a:xfrm>
            <a:off x="8799166" y="10027627"/>
            <a:ext cx="2768689" cy="1700905"/>
            <a:chOff x="8574105" y="1881861"/>
            <a:chExt cx="2768689" cy="1700905"/>
          </a:xfrm>
        </p:grpSpPr>
        <p:sp>
          <p:nvSpPr>
            <p:cNvPr id="275" name="Freeform 12">
              <a:extLst>
                <a:ext uri="{FF2B5EF4-FFF2-40B4-BE49-F238E27FC236}">
                  <a16:creationId xmlns:a16="http://schemas.microsoft.com/office/drawing/2014/main" id="{20977099-FB78-7BA1-3583-36C4815D214B}"/>
                </a:ext>
              </a:extLst>
            </p:cNvPr>
            <p:cNvSpPr/>
            <p:nvPr/>
          </p:nvSpPr>
          <p:spPr>
            <a:xfrm>
              <a:off x="8575580" y="1881861"/>
              <a:ext cx="1125882" cy="850453"/>
            </a:xfrm>
            <a:custGeom>
              <a:avLst/>
              <a:gdLst>
                <a:gd name="connsiteX0" fmla="*/ 187083 w 187082"/>
                <a:gd name="connsiteY0" fmla="*/ 0 h 141316"/>
                <a:gd name="connsiteX1" fmla="*/ 38944 w 187082"/>
                <a:gd name="connsiteY1" fmla="*/ 0 h 141316"/>
                <a:gd name="connsiteX2" fmla="*/ 11474 w 187082"/>
                <a:gd name="connsiteY2" fmla="*/ 77528 h 141316"/>
                <a:gd name="connsiteX3" fmla="*/ 66168 w 187082"/>
                <a:gd name="connsiteY3" fmla="*/ 141316 h 141316"/>
                <a:gd name="connsiteX4" fmla="*/ 187083 w 187082"/>
                <a:gd name="connsiteY4" fmla="*/ 0 h 141316"/>
                <a:gd name="connsiteX0" fmla="*/ 187083 w 187083"/>
                <a:gd name="connsiteY0" fmla="*/ 0 h 141316"/>
                <a:gd name="connsiteX1" fmla="*/ 38944 w 187083"/>
                <a:gd name="connsiteY1" fmla="*/ 0 h 141316"/>
                <a:gd name="connsiteX2" fmla="*/ 11474 w 187083"/>
                <a:gd name="connsiteY2" fmla="*/ 77528 h 141316"/>
                <a:gd name="connsiteX3" fmla="*/ 66168 w 187083"/>
                <a:gd name="connsiteY3" fmla="*/ 141316 h 141316"/>
                <a:gd name="connsiteX4" fmla="*/ 119776 w 187083"/>
                <a:gd name="connsiteY4" fmla="*/ 78665 h 141316"/>
                <a:gd name="connsiteX5" fmla="*/ 187083 w 187083"/>
                <a:gd name="connsiteY5" fmla="*/ 0 h 141316"/>
                <a:gd name="connsiteX0" fmla="*/ 187083 w 187083"/>
                <a:gd name="connsiteY0" fmla="*/ 0 h 141316"/>
                <a:gd name="connsiteX1" fmla="*/ 38944 w 187083"/>
                <a:gd name="connsiteY1" fmla="*/ 0 h 141316"/>
                <a:gd name="connsiteX2" fmla="*/ 11474 w 187083"/>
                <a:gd name="connsiteY2" fmla="*/ 77528 h 141316"/>
                <a:gd name="connsiteX3" fmla="*/ 66168 w 187083"/>
                <a:gd name="connsiteY3" fmla="*/ 141316 h 141316"/>
                <a:gd name="connsiteX4" fmla="*/ 162366 w 187083"/>
                <a:gd name="connsiteY4" fmla="*/ 92478 h 141316"/>
                <a:gd name="connsiteX5" fmla="*/ 187083 w 187083"/>
                <a:gd name="connsiteY5" fmla="*/ 0 h 14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083" h="141316">
                  <a:moveTo>
                    <a:pt x="187083" y="0"/>
                  </a:moveTo>
                  <a:lnTo>
                    <a:pt x="38944" y="0"/>
                  </a:lnTo>
                  <a:cubicBezTo>
                    <a:pt x="4361" y="0"/>
                    <a:pt x="-13052" y="48823"/>
                    <a:pt x="11474" y="77528"/>
                  </a:cubicBezTo>
                  <a:lnTo>
                    <a:pt x="66168" y="141316"/>
                  </a:lnTo>
                  <a:lnTo>
                    <a:pt x="162366" y="92478"/>
                  </a:lnTo>
                  <a:lnTo>
                    <a:pt x="187083" y="0"/>
                  </a:lnTo>
                  <a:close/>
                </a:path>
              </a:pathLst>
            </a:custGeom>
            <a:solidFill>
              <a:schemeClr val="accent1">
                <a:lumMod val="75000"/>
              </a:schemeClr>
            </a:solidFill>
            <a:ln w="245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6" name="Freeform 13">
              <a:extLst>
                <a:ext uri="{FF2B5EF4-FFF2-40B4-BE49-F238E27FC236}">
                  <a16:creationId xmlns:a16="http://schemas.microsoft.com/office/drawing/2014/main" id="{B47BAA6E-9F84-9AE3-A4E8-306D3896DC13}"/>
                </a:ext>
              </a:extLst>
            </p:cNvPr>
            <p:cNvSpPr/>
            <p:nvPr/>
          </p:nvSpPr>
          <p:spPr>
            <a:xfrm>
              <a:off x="8574105" y="1881861"/>
              <a:ext cx="2768689" cy="1700905"/>
            </a:xfrm>
            <a:custGeom>
              <a:avLst/>
              <a:gdLst>
                <a:gd name="connsiteX0" fmla="*/ 357541 w 460061"/>
                <a:gd name="connsiteY0" fmla="*/ 21590 h 282632"/>
                <a:gd name="connsiteX1" fmla="*/ 312658 w 460061"/>
                <a:gd name="connsiteY1" fmla="*/ 0 h 282632"/>
                <a:gd name="connsiteX2" fmla="*/ 187083 w 460061"/>
                <a:gd name="connsiteY2" fmla="*/ 0 h 282632"/>
                <a:gd name="connsiteX3" fmla="*/ 66168 w 460061"/>
                <a:gd name="connsiteY3" fmla="*/ 141316 h 282632"/>
                <a:gd name="connsiteX4" fmla="*/ 11474 w 460061"/>
                <a:gd name="connsiteY4" fmla="*/ 205105 h 282632"/>
                <a:gd name="connsiteX5" fmla="*/ 38944 w 460061"/>
                <a:gd name="connsiteY5" fmla="*/ 282633 h 282632"/>
                <a:gd name="connsiteX6" fmla="*/ 312658 w 460061"/>
                <a:gd name="connsiteY6" fmla="*/ 282633 h 282632"/>
                <a:gd name="connsiteX7" fmla="*/ 357541 w 460061"/>
                <a:gd name="connsiteY7" fmla="*/ 261043 h 282632"/>
                <a:gd name="connsiteX8" fmla="*/ 460061 w 460061"/>
                <a:gd name="connsiteY8" fmla="*/ 141562 h 282632"/>
                <a:gd name="connsiteX9" fmla="*/ 357541 w 460061"/>
                <a:gd name="connsiteY9" fmla="*/ 22081 h 28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0061" h="282632">
                  <a:moveTo>
                    <a:pt x="357541" y="21590"/>
                  </a:moveTo>
                  <a:cubicBezTo>
                    <a:pt x="345768" y="7606"/>
                    <a:pt x="329581" y="0"/>
                    <a:pt x="312658" y="0"/>
                  </a:cubicBezTo>
                  <a:lnTo>
                    <a:pt x="187083" y="0"/>
                  </a:lnTo>
                  <a:lnTo>
                    <a:pt x="66168" y="141316"/>
                  </a:lnTo>
                  <a:lnTo>
                    <a:pt x="11474" y="205105"/>
                  </a:lnTo>
                  <a:cubicBezTo>
                    <a:pt x="-13052" y="233810"/>
                    <a:pt x="4361" y="282633"/>
                    <a:pt x="38944" y="282633"/>
                  </a:cubicBezTo>
                  <a:lnTo>
                    <a:pt x="312658" y="282633"/>
                  </a:lnTo>
                  <a:cubicBezTo>
                    <a:pt x="329581" y="282633"/>
                    <a:pt x="345523" y="274782"/>
                    <a:pt x="357541" y="261043"/>
                  </a:cubicBezTo>
                  <a:lnTo>
                    <a:pt x="460061" y="141562"/>
                  </a:lnTo>
                  <a:lnTo>
                    <a:pt x="357541" y="22081"/>
                  </a:lnTo>
                  <a:close/>
                </a:path>
              </a:pathLst>
            </a:custGeom>
            <a:solidFill>
              <a:schemeClr val="accent1"/>
            </a:solidFill>
            <a:ln w="245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7" name="TextBox 47">
              <a:extLst>
                <a:ext uri="{FF2B5EF4-FFF2-40B4-BE49-F238E27FC236}">
                  <a16:creationId xmlns:a16="http://schemas.microsoft.com/office/drawing/2014/main" id="{039FD29D-93DB-A231-386A-04E2EF44ED3F}"/>
                </a:ext>
              </a:extLst>
            </p:cNvPr>
            <p:cNvSpPr txBox="1"/>
            <p:nvPr/>
          </p:nvSpPr>
          <p:spPr>
            <a:xfrm>
              <a:off x="8683866" y="1881861"/>
              <a:ext cx="601447" cy="58477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b="1" dirty="0">
                  <a:solidFill>
                    <a:schemeClr val="bg1"/>
                  </a:solidFill>
                </a:rPr>
                <a:t>04</a:t>
              </a:r>
            </a:p>
          </p:txBody>
        </p:sp>
      </p:grpSp>
      <p:pic>
        <p:nvPicPr>
          <p:cNvPr id="278" name="Graphic 48">
            <a:extLst>
              <a:ext uri="{FF2B5EF4-FFF2-40B4-BE49-F238E27FC236}">
                <a16:creationId xmlns:a16="http://schemas.microsoft.com/office/drawing/2014/main" id="{50CD45AA-9E2D-5851-90F2-0D8E1627640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741778" y="10315141"/>
            <a:ext cx="1125876" cy="1125876"/>
          </a:xfrm>
          <a:prstGeom prst="rect">
            <a:avLst/>
          </a:prstGeom>
        </p:spPr>
      </p:pic>
      <p:grpSp>
        <p:nvGrpSpPr>
          <p:cNvPr id="279" name="Group 199">
            <a:extLst>
              <a:ext uri="{FF2B5EF4-FFF2-40B4-BE49-F238E27FC236}">
                <a16:creationId xmlns:a16="http://schemas.microsoft.com/office/drawing/2014/main" id="{21458304-A655-AB1B-460E-745B6F2FBCEB}"/>
              </a:ext>
            </a:extLst>
          </p:cNvPr>
          <p:cNvGrpSpPr/>
          <p:nvPr/>
        </p:nvGrpSpPr>
        <p:grpSpPr>
          <a:xfrm>
            <a:off x="6030477" y="10027627"/>
            <a:ext cx="2768689" cy="1700905"/>
            <a:chOff x="5995470" y="1881861"/>
            <a:chExt cx="2768689" cy="1700905"/>
          </a:xfrm>
        </p:grpSpPr>
        <p:sp>
          <p:nvSpPr>
            <p:cNvPr id="280" name="Freeform 6">
              <a:extLst>
                <a:ext uri="{FF2B5EF4-FFF2-40B4-BE49-F238E27FC236}">
                  <a16:creationId xmlns:a16="http://schemas.microsoft.com/office/drawing/2014/main" id="{31BC360E-61FE-AC2F-2B74-EFE410084945}"/>
                </a:ext>
              </a:extLst>
            </p:cNvPr>
            <p:cNvSpPr/>
            <p:nvPr/>
          </p:nvSpPr>
          <p:spPr>
            <a:xfrm>
              <a:off x="5996944" y="1881861"/>
              <a:ext cx="1125882" cy="850453"/>
            </a:xfrm>
            <a:custGeom>
              <a:avLst/>
              <a:gdLst>
                <a:gd name="connsiteX0" fmla="*/ 187083 w 187082"/>
                <a:gd name="connsiteY0" fmla="*/ 0 h 141316"/>
                <a:gd name="connsiteX1" fmla="*/ 38944 w 187082"/>
                <a:gd name="connsiteY1" fmla="*/ 0 h 141316"/>
                <a:gd name="connsiteX2" fmla="*/ 11474 w 187082"/>
                <a:gd name="connsiteY2" fmla="*/ 77528 h 141316"/>
                <a:gd name="connsiteX3" fmla="*/ 66168 w 187082"/>
                <a:gd name="connsiteY3" fmla="*/ 141316 h 141316"/>
                <a:gd name="connsiteX4" fmla="*/ 187083 w 187082"/>
                <a:gd name="connsiteY4" fmla="*/ 0 h 141316"/>
                <a:gd name="connsiteX0" fmla="*/ 187083 w 187083"/>
                <a:gd name="connsiteY0" fmla="*/ 0 h 141316"/>
                <a:gd name="connsiteX1" fmla="*/ 38944 w 187083"/>
                <a:gd name="connsiteY1" fmla="*/ 0 h 141316"/>
                <a:gd name="connsiteX2" fmla="*/ 11474 w 187083"/>
                <a:gd name="connsiteY2" fmla="*/ 77528 h 141316"/>
                <a:gd name="connsiteX3" fmla="*/ 66168 w 187083"/>
                <a:gd name="connsiteY3" fmla="*/ 141316 h 141316"/>
                <a:gd name="connsiteX4" fmla="*/ 119992 w 187083"/>
                <a:gd name="connsiteY4" fmla="*/ 75212 h 141316"/>
                <a:gd name="connsiteX5" fmla="*/ 187083 w 187083"/>
                <a:gd name="connsiteY5" fmla="*/ 0 h 141316"/>
                <a:gd name="connsiteX0" fmla="*/ 187083 w 187083"/>
                <a:gd name="connsiteY0" fmla="*/ 0 h 141316"/>
                <a:gd name="connsiteX1" fmla="*/ 38944 w 187083"/>
                <a:gd name="connsiteY1" fmla="*/ 0 h 141316"/>
                <a:gd name="connsiteX2" fmla="*/ 11474 w 187083"/>
                <a:gd name="connsiteY2" fmla="*/ 77528 h 141316"/>
                <a:gd name="connsiteX3" fmla="*/ 66168 w 187083"/>
                <a:gd name="connsiteY3" fmla="*/ 141316 h 141316"/>
                <a:gd name="connsiteX4" fmla="*/ 147618 w 187083"/>
                <a:gd name="connsiteY4" fmla="*/ 100536 h 141316"/>
                <a:gd name="connsiteX5" fmla="*/ 187083 w 187083"/>
                <a:gd name="connsiteY5" fmla="*/ 0 h 14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083" h="141316">
                  <a:moveTo>
                    <a:pt x="187083" y="0"/>
                  </a:moveTo>
                  <a:lnTo>
                    <a:pt x="38944" y="0"/>
                  </a:lnTo>
                  <a:cubicBezTo>
                    <a:pt x="4361" y="0"/>
                    <a:pt x="-13052" y="48823"/>
                    <a:pt x="11474" y="77528"/>
                  </a:cubicBezTo>
                  <a:lnTo>
                    <a:pt x="66168" y="141316"/>
                  </a:lnTo>
                  <a:lnTo>
                    <a:pt x="147618" y="100536"/>
                  </a:lnTo>
                  <a:lnTo>
                    <a:pt x="187083" y="0"/>
                  </a:lnTo>
                  <a:close/>
                </a:path>
              </a:pathLst>
            </a:custGeom>
            <a:solidFill>
              <a:schemeClr val="accent5">
                <a:lumMod val="75000"/>
              </a:schemeClr>
            </a:solidFill>
            <a:ln w="245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1" name="Freeform 7">
              <a:extLst>
                <a:ext uri="{FF2B5EF4-FFF2-40B4-BE49-F238E27FC236}">
                  <a16:creationId xmlns:a16="http://schemas.microsoft.com/office/drawing/2014/main" id="{740A8CDE-A0C8-EB01-BF88-1B56AF766DA9}"/>
                </a:ext>
              </a:extLst>
            </p:cNvPr>
            <p:cNvSpPr/>
            <p:nvPr/>
          </p:nvSpPr>
          <p:spPr>
            <a:xfrm>
              <a:off x="5995470" y="1881861"/>
              <a:ext cx="2768689" cy="1700905"/>
            </a:xfrm>
            <a:custGeom>
              <a:avLst/>
              <a:gdLst>
                <a:gd name="connsiteX0" fmla="*/ 357541 w 460061"/>
                <a:gd name="connsiteY0" fmla="*/ 21590 h 282632"/>
                <a:gd name="connsiteX1" fmla="*/ 312658 w 460061"/>
                <a:gd name="connsiteY1" fmla="*/ 0 h 282632"/>
                <a:gd name="connsiteX2" fmla="*/ 187083 w 460061"/>
                <a:gd name="connsiteY2" fmla="*/ 0 h 282632"/>
                <a:gd name="connsiteX3" fmla="*/ 66168 w 460061"/>
                <a:gd name="connsiteY3" fmla="*/ 141316 h 282632"/>
                <a:gd name="connsiteX4" fmla="*/ 11474 w 460061"/>
                <a:gd name="connsiteY4" fmla="*/ 205105 h 282632"/>
                <a:gd name="connsiteX5" fmla="*/ 38944 w 460061"/>
                <a:gd name="connsiteY5" fmla="*/ 282633 h 282632"/>
                <a:gd name="connsiteX6" fmla="*/ 312658 w 460061"/>
                <a:gd name="connsiteY6" fmla="*/ 282633 h 282632"/>
                <a:gd name="connsiteX7" fmla="*/ 357541 w 460061"/>
                <a:gd name="connsiteY7" fmla="*/ 261043 h 282632"/>
                <a:gd name="connsiteX8" fmla="*/ 460061 w 460061"/>
                <a:gd name="connsiteY8" fmla="*/ 141562 h 282632"/>
                <a:gd name="connsiteX9" fmla="*/ 357541 w 460061"/>
                <a:gd name="connsiteY9" fmla="*/ 22081 h 28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0061" h="282632">
                  <a:moveTo>
                    <a:pt x="357541" y="21590"/>
                  </a:moveTo>
                  <a:cubicBezTo>
                    <a:pt x="345768" y="7606"/>
                    <a:pt x="329581" y="0"/>
                    <a:pt x="312658" y="0"/>
                  </a:cubicBezTo>
                  <a:lnTo>
                    <a:pt x="187083" y="0"/>
                  </a:lnTo>
                  <a:lnTo>
                    <a:pt x="66168" y="141316"/>
                  </a:lnTo>
                  <a:lnTo>
                    <a:pt x="11474" y="205105"/>
                  </a:lnTo>
                  <a:cubicBezTo>
                    <a:pt x="-13052" y="233810"/>
                    <a:pt x="4361" y="282633"/>
                    <a:pt x="38944" y="282633"/>
                  </a:cubicBezTo>
                  <a:lnTo>
                    <a:pt x="312658" y="282633"/>
                  </a:lnTo>
                  <a:cubicBezTo>
                    <a:pt x="329581" y="282633"/>
                    <a:pt x="345523" y="274782"/>
                    <a:pt x="357541" y="261043"/>
                  </a:cubicBezTo>
                  <a:lnTo>
                    <a:pt x="460061" y="141562"/>
                  </a:lnTo>
                  <a:lnTo>
                    <a:pt x="357541" y="22081"/>
                  </a:lnTo>
                  <a:close/>
                </a:path>
              </a:pathLst>
            </a:custGeom>
            <a:solidFill>
              <a:schemeClr val="accent5"/>
            </a:solidFill>
            <a:ln w="245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2" name="TextBox 52">
              <a:extLst>
                <a:ext uri="{FF2B5EF4-FFF2-40B4-BE49-F238E27FC236}">
                  <a16:creationId xmlns:a16="http://schemas.microsoft.com/office/drawing/2014/main" id="{C15811FD-3621-FA4A-DC0F-F3E6602E29A3}"/>
                </a:ext>
              </a:extLst>
            </p:cNvPr>
            <p:cNvSpPr txBox="1"/>
            <p:nvPr/>
          </p:nvSpPr>
          <p:spPr>
            <a:xfrm>
              <a:off x="6074864" y="1881861"/>
              <a:ext cx="601447" cy="58477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b="1" dirty="0">
                  <a:solidFill>
                    <a:schemeClr val="bg1"/>
                  </a:solidFill>
                </a:rPr>
                <a:t>03</a:t>
              </a:r>
            </a:p>
          </p:txBody>
        </p:sp>
      </p:grpSp>
      <p:pic>
        <p:nvPicPr>
          <p:cNvPr id="283" name="Graphic 53">
            <a:extLst>
              <a:ext uri="{FF2B5EF4-FFF2-40B4-BE49-F238E27FC236}">
                <a16:creationId xmlns:a16="http://schemas.microsoft.com/office/drawing/2014/main" id="{ECBE8FB9-A143-38A5-40F2-00B6FBA4D37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014859" y="10249395"/>
            <a:ext cx="1337792" cy="1334106"/>
          </a:xfrm>
          <a:prstGeom prst="rect">
            <a:avLst/>
          </a:prstGeom>
        </p:spPr>
      </p:pic>
      <p:pic>
        <p:nvPicPr>
          <p:cNvPr id="285" name="Image 284">
            <a:extLst>
              <a:ext uri="{FF2B5EF4-FFF2-40B4-BE49-F238E27FC236}">
                <a16:creationId xmlns:a16="http://schemas.microsoft.com/office/drawing/2014/main" id="{3BE1AB41-4788-A49F-03F2-DF0685DFCDA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101197" y="1726279"/>
            <a:ext cx="931991" cy="931991"/>
          </a:xfrm>
          <a:prstGeom prst="rect">
            <a:avLst/>
          </a:prstGeom>
        </p:spPr>
      </p:pic>
      <p:sp>
        <p:nvSpPr>
          <p:cNvPr id="11" name="Rectangle 10">
            <a:extLst>
              <a:ext uri="{FF2B5EF4-FFF2-40B4-BE49-F238E27FC236}">
                <a16:creationId xmlns:a16="http://schemas.microsoft.com/office/drawing/2014/main" id="{EB88EA41-C8F0-4500-A4D0-E0CD3D02F7C8}"/>
              </a:ext>
            </a:extLst>
          </p:cNvPr>
          <p:cNvSpPr/>
          <p:nvPr/>
        </p:nvSpPr>
        <p:spPr>
          <a:xfrm>
            <a:off x="11392784" y="6207043"/>
            <a:ext cx="601447" cy="584775"/>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3200" b="1" cap="none" spc="0" dirty="0">
                <a:ln/>
                <a:solidFill>
                  <a:schemeClr val="accent3"/>
                </a:solidFill>
                <a:effectLst/>
              </a:rPr>
              <a:t>31</a:t>
            </a:r>
          </a:p>
        </p:txBody>
      </p:sp>
    </p:spTree>
    <p:extLst>
      <p:ext uri="{BB962C8B-B14F-4D97-AF65-F5344CB8AC3E}">
        <p14:creationId xmlns:p14="http://schemas.microsoft.com/office/powerpoint/2010/main" val="299496800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extBox 56">
            <a:extLst>
              <a:ext uri="{FF2B5EF4-FFF2-40B4-BE49-F238E27FC236}">
                <a16:creationId xmlns:a16="http://schemas.microsoft.com/office/drawing/2014/main" id="{65C3EDB4-39A5-B89C-1ED3-8E30DE2A5782}"/>
              </a:ext>
            </a:extLst>
          </p:cNvPr>
          <p:cNvSpPr txBox="1"/>
          <p:nvPr/>
        </p:nvSpPr>
        <p:spPr>
          <a:xfrm>
            <a:off x="281746" y="969273"/>
            <a:ext cx="3347000" cy="494879"/>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4800" dirty="0"/>
              <a:t>Perspectives </a:t>
            </a:r>
          </a:p>
        </p:txBody>
      </p:sp>
      <p:sp>
        <p:nvSpPr>
          <p:cNvPr id="137" name="TextBox 136">
            <a:extLst>
              <a:ext uri="{FF2B5EF4-FFF2-40B4-BE49-F238E27FC236}">
                <a16:creationId xmlns:a16="http://schemas.microsoft.com/office/drawing/2014/main" id="{DAFC37DC-BC42-46C9-9DB2-C175395D00C2}"/>
              </a:ext>
            </a:extLst>
          </p:cNvPr>
          <p:cNvSpPr txBox="1"/>
          <p:nvPr/>
        </p:nvSpPr>
        <p:spPr>
          <a:xfrm>
            <a:off x="299484" y="407551"/>
            <a:ext cx="1078821"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Conclusion </a:t>
            </a:r>
          </a:p>
        </p:txBody>
      </p:sp>
      <p:cxnSp>
        <p:nvCxnSpPr>
          <p:cNvPr id="138" name="Straight Connector 137">
            <a:extLst>
              <a:ext uri="{FF2B5EF4-FFF2-40B4-BE49-F238E27FC236}">
                <a16:creationId xmlns:a16="http://schemas.microsoft.com/office/drawing/2014/main" id="{3811C1A9-9032-47E1-8548-B674B60A8016}"/>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139" name="Oval 138">
            <a:extLst>
              <a:ext uri="{FF2B5EF4-FFF2-40B4-BE49-F238E27FC236}">
                <a16:creationId xmlns:a16="http://schemas.microsoft.com/office/drawing/2014/main" id="{F4B0A03F-420D-407D-9AB0-E4B3EF9699F7}"/>
              </a:ext>
            </a:extLst>
          </p:cNvPr>
          <p:cNvSpPr/>
          <p:nvPr/>
        </p:nvSpPr>
        <p:spPr>
          <a:xfrm>
            <a:off x="5842207" y="338873"/>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40" name="Graphic 139">
            <a:extLst>
              <a:ext uri="{FF2B5EF4-FFF2-40B4-BE49-F238E27FC236}">
                <a16:creationId xmlns:a16="http://schemas.microsoft.com/office/drawing/2014/main" id="{207EA054-A069-4752-97A1-DDC85699B62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70000" y="466666"/>
            <a:ext cx="252000" cy="252000"/>
          </a:xfrm>
          <a:prstGeom prst="rect">
            <a:avLst/>
          </a:prstGeom>
        </p:spPr>
      </p:pic>
      <p:sp>
        <p:nvSpPr>
          <p:cNvPr id="141" name="TextBox 140">
            <a:extLst>
              <a:ext uri="{FF2B5EF4-FFF2-40B4-BE49-F238E27FC236}">
                <a16:creationId xmlns:a16="http://schemas.microsoft.com/office/drawing/2014/main" id="{26C5CBAD-B852-47DF-920F-171F086DD40B}"/>
              </a:ext>
            </a:extLst>
          </p:cNvPr>
          <p:cNvSpPr txBox="1"/>
          <p:nvPr/>
        </p:nvSpPr>
        <p:spPr>
          <a:xfrm>
            <a:off x="1362287" y="402906"/>
            <a:ext cx="189154"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t</a:t>
            </a:r>
          </a:p>
        </p:txBody>
      </p:sp>
      <p:sp>
        <p:nvSpPr>
          <p:cNvPr id="142" name="TextBox 141">
            <a:extLst>
              <a:ext uri="{FF2B5EF4-FFF2-40B4-BE49-F238E27FC236}">
                <a16:creationId xmlns:a16="http://schemas.microsoft.com/office/drawing/2014/main" id="{403E84A4-5B97-4C9B-AB97-64A518701820}"/>
              </a:ext>
            </a:extLst>
          </p:cNvPr>
          <p:cNvSpPr txBox="1"/>
          <p:nvPr/>
        </p:nvSpPr>
        <p:spPr>
          <a:xfrm>
            <a:off x="1627606" y="402906"/>
            <a:ext cx="1231106"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Perspectives </a:t>
            </a:r>
          </a:p>
        </p:txBody>
      </p:sp>
      <p:sp>
        <p:nvSpPr>
          <p:cNvPr id="105" name="TextBox 104">
            <a:extLst>
              <a:ext uri="{FF2B5EF4-FFF2-40B4-BE49-F238E27FC236}">
                <a16:creationId xmlns:a16="http://schemas.microsoft.com/office/drawing/2014/main" id="{94E68835-FE43-4B72-8B25-C1C3283AA1D2}"/>
              </a:ext>
            </a:extLst>
          </p:cNvPr>
          <p:cNvSpPr txBox="1"/>
          <p:nvPr/>
        </p:nvSpPr>
        <p:spPr>
          <a:xfrm>
            <a:off x="5946519" y="4465428"/>
            <a:ext cx="2936603" cy="1355436"/>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2400" dirty="0"/>
              <a:t>Garantir une expérience de réservation fiable, sécurisée et rapide pour tous les utilisateurs</a:t>
            </a:r>
            <a:endParaRPr lang="en-GB" sz="2400" dirty="0">
              <a:solidFill>
                <a:schemeClr val="bg1"/>
              </a:solidFill>
            </a:endParaRPr>
          </a:p>
        </p:txBody>
      </p:sp>
      <p:sp>
        <p:nvSpPr>
          <p:cNvPr id="106" name="TextBox 105">
            <a:extLst>
              <a:ext uri="{FF2B5EF4-FFF2-40B4-BE49-F238E27FC236}">
                <a16:creationId xmlns:a16="http://schemas.microsoft.com/office/drawing/2014/main" id="{7C5B5C9F-96E5-4EAC-8022-B08ABB47090B}"/>
              </a:ext>
            </a:extLst>
          </p:cNvPr>
          <p:cNvSpPr txBox="1"/>
          <p:nvPr/>
        </p:nvSpPr>
        <p:spPr>
          <a:xfrm>
            <a:off x="8932931" y="4457627"/>
            <a:ext cx="2501158" cy="944874"/>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2000" dirty="0"/>
              <a:t>Devenir le leader digital tunisien du tourisme local en valorisant les ressources naturelles et culturelles</a:t>
            </a:r>
            <a:endParaRPr lang="en-GB" sz="2000" dirty="0">
              <a:solidFill>
                <a:schemeClr val="bg1"/>
              </a:solidFill>
            </a:endParaRPr>
          </a:p>
        </p:txBody>
      </p:sp>
      <p:sp>
        <p:nvSpPr>
          <p:cNvPr id="107" name="TextBox 106">
            <a:extLst>
              <a:ext uri="{FF2B5EF4-FFF2-40B4-BE49-F238E27FC236}">
                <a16:creationId xmlns:a16="http://schemas.microsoft.com/office/drawing/2014/main" id="{84A1E05D-E28F-404B-9CB0-19BE21BC9897}"/>
              </a:ext>
            </a:extLst>
          </p:cNvPr>
          <p:cNvSpPr txBox="1"/>
          <p:nvPr/>
        </p:nvSpPr>
        <p:spPr>
          <a:xfrm>
            <a:off x="3303681" y="4457627"/>
            <a:ext cx="2768688" cy="912237"/>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2400" dirty="0"/>
              <a:t>Offrir une visibilité nationale aux prestataires au-delà de leur réseau local.</a:t>
            </a:r>
            <a:endParaRPr lang="en-GB" sz="2400" dirty="0">
              <a:solidFill>
                <a:schemeClr val="bg1"/>
              </a:solidFill>
            </a:endParaRPr>
          </a:p>
        </p:txBody>
      </p:sp>
      <p:sp>
        <p:nvSpPr>
          <p:cNvPr id="136" name="TextBox 135">
            <a:extLst>
              <a:ext uri="{FF2B5EF4-FFF2-40B4-BE49-F238E27FC236}">
                <a16:creationId xmlns:a16="http://schemas.microsoft.com/office/drawing/2014/main" id="{F071187B-A9FB-4128-8E48-D57B4246E6AE}"/>
              </a:ext>
            </a:extLst>
          </p:cNvPr>
          <p:cNvSpPr txBox="1"/>
          <p:nvPr/>
        </p:nvSpPr>
        <p:spPr>
          <a:xfrm>
            <a:off x="492929" y="4457627"/>
            <a:ext cx="2632376" cy="1355436"/>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fr-FR" sz="2400" dirty="0"/>
              <a:t>Simplifier l’accès aux activités de loisirs et hébergements en Tunisie grâce à une plateforme intuitive. </a:t>
            </a:r>
            <a:br>
              <a:rPr lang="fr-FR" sz="2400" dirty="0"/>
            </a:br>
            <a:endParaRPr lang="en-GB" sz="2400" dirty="0">
              <a:solidFill>
                <a:schemeClr val="bg1"/>
              </a:solidFill>
            </a:endParaRPr>
          </a:p>
        </p:txBody>
      </p:sp>
      <p:grpSp>
        <p:nvGrpSpPr>
          <p:cNvPr id="55" name="Group 54">
            <a:extLst>
              <a:ext uri="{FF2B5EF4-FFF2-40B4-BE49-F238E27FC236}">
                <a16:creationId xmlns:a16="http://schemas.microsoft.com/office/drawing/2014/main" id="{C6A12952-0E29-4548-84F8-6A205CE5FBBC}"/>
              </a:ext>
            </a:extLst>
          </p:cNvPr>
          <p:cNvGrpSpPr/>
          <p:nvPr/>
        </p:nvGrpSpPr>
        <p:grpSpPr>
          <a:xfrm>
            <a:off x="669310" y="2461407"/>
            <a:ext cx="2768688" cy="1700905"/>
            <a:chOff x="838200" y="1881861"/>
            <a:chExt cx="2768688" cy="1700905"/>
          </a:xfrm>
        </p:grpSpPr>
        <p:sp>
          <p:nvSpPr>
            <p:cNvPr id="73" name="Freeform 10">
              <a:extLst>
                <a:ext uri="{FF2B5EF4-FFF2-40B4-BE49-F238E27FC236}">
                  <a16:creationId xmlns:a16="http://schemas.microsoft.com/office/drawing/2014/main" id="{666479A9-F44F-47E9-19E4-14F393ECFA0C}"/>
                </a:ext>
              </a:extLst>
            </p:cNvPr>
            <p:cNvSpPr/>
            <p:nvPr/>
          </p:nvSpPr>
          <p:spPr>
            <a:xfrm>
              <a:off x="838200" y="1881861"/>
              <a:ext cx="1125882" cy="850453"/>
            </a:xfrm>
            <a:custGeom>
              <a:avLst/>
              <a:gdLst>
                <a:gd name="connsiteX0" fmla="*/ 187083 w 187082"/>
                <a:gd name="connsiteY0" fmla="*/ 0 h 141316"/>
                <a:gd name="connsiteX1" fmla="*/ 38944 w 187082"/>
                <a:gd name="connsiteY1" fmla="*/ 0 h 141316"/>
                <a:gd name="connsiteX2" fmla="*/ 11474 w 187082"/>
                <a:gd name="connsiteY2" fmla="*/ 77528 h 141316"/>
                <a:gd name="connsiteX3" fmla="*/ 66168 w 187082"/>
                <a:gd name="connsiteY3" fmla="*/ 141316 h 141316"/>
                <a:gd name="connsiteX4" fmla="*/ 187083 w 187082"/>
                <a:gd name="connsiteY4" fmla="*/ 0 h 141316"/>
                <a:gd name="connsiteX0" fmla="*/ 187083 w 187083"/>
                <a:gd name="connsiteY0" fmla="*/ 0 h 141316"/>
                <a:gd name="connsiteX1" fmla="*/ 38944 w 187083"/>
                <a:gd name="connsiteY1" fmla="*/ 0 h 141316"/>
                <a:gd name="connsiteX2" fmla="*/ 11474 w 187083"/>
                <a:gd name="connsiteY2" fmla="*/ 77528 h 141316"/>
                <a:gd name="connsiteX3" fmla="*/ 66168 w 187083"/>
                <a:gd name="connsiteY3" fmla="*/ 141316 h 141316"/>
                <a:gd name="connsiteX4" fmla="*/ 124316 w 187083"/>
                <a:gd name="connsiteY4" fmla="*/ 70607 h 141316"/>
                <a:gd name="connsiteX5" fmla="*/ 187083 w 187083"/>
                <a:gd name="connsiteY5" fmla="*/ 0 h 141316"/>
                <a:gd name="connsiteX0" fmla="*/ 187083 w 187083"/>
                <a:gd name="connsiteY0" fmla="*/ 0 h 141316"/>
                <a:gd name="connsiteX1" fmla="*/ 38944 w 187083"/>
                <a:gd name="connsiteY1" fmla="*/ 0 h 141316"/>
                <a:gd name="connsiteX2" fmla="*/ 11474 w 187083"/>
                <a:gd name="connsiteY2" fmla="*/ 77528 h 141316"/>
                <a:gd name="connsiteX3" fmla="*/ 66168 w 187083"/>
                <a:gd name="connsiteY3" fmla="*/ 141316 h 141316"/>
                <a:gd name="connsiteX4" fmla="*/ 147338 w 187083"/>
                <a:gd name="connsiteY4" fmla="*/ 82118 h 141316"/>
                <a:gd name="connsiteX5" fmla="*/ 187083 w 187083"/>
                <a:gd name="connsiteY5" fmla="*/ 0 h 14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083" h="141316">
                  <a:moveTo>
                    <a:pt x="187083" y="0"/>
                  </a:moveTo>
                  <a:lnTo>
                    <a:pt x="38944" y="0"/>
                  </a:lnTo>
                  <a:cubicBezTo>
                    <a:pt x="4361" y="0"/>
                    <a:pt x="-13052" y="48823"/>
                    <a:pt x="11474" y="77528"/>
                  </a:cubicBezTo>
                  <a:lnTo>
                    <a:pt x="66168" y="141316"/>
                  </a:lnTo>
                  <a:lnTo>
                    <a:pt x="147338" y="82118"/>
                  </a:lnTo>
                  <a:lnTo>
                    <a:pt x="187083" y="0"/>
                  </a:lnTo>
                  <a:close/>
                </a:path>
              </a:pathLst>
            </a:custGeom>
            <a:solidFill>
              <a:schemeClr val="accent2">
                <a:lumMod val="75000"/>
              </a:schemeClr>
            </a:solidFill>
            <a:ln w="245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4" name="Freeform 11">
              <a:extLst>
                <a:ext uri="{FF2B5EF4-FFF2-40B4-BE49-F238E27FC236}">
                  <a16:creationId xmlns:a16="http://schemas.microsoft.com/office/drawing/2014/main" id="{A4538F28-B7D3-3845-F466-463BA51590EE}"/>
                </a:ext>
              </a:extLst>
            </p:cNvPr>
            <p:cNvSpPr/>
            <p:nvPr/>
          </p:nvSpPr>
          <p:spPr>
            <a:xfrm>
              <a:off x="838200" y="1881861"/>
              <a:ext cx="2768688" cy="1700905"/>
            </a:xfrm>
            <a:custGeom>
              <a:avLst/>
              <a:gdLst>
                <a:gd name="connsiteX0" fmla="*/ 357541 w 460061"/>
                <a:gd name="connsiteY0" fmla="*/ 21590 h 282632"/>
                <a:gd name="connsiteX1" fmla="*/ 312658 w 460061"/>
                <a:gd name="connsiteY1" fmla="*/ 0 h 282632"/>
                <a:gd name="connsiteX2" fmla="*/ 187083 w 460061"/>
                <a:gd name="connsiteY2" fmla="*/ 0 h 282632"/>
                <a:gd name="connsiteX3" fmla="*/ 66168 w 460061"/>
                <a:gd name="connsiteY3" fmla="*/ 141316 h 282632"/>
                <a:gd name="connsiteX4" fmla="*/ 11474 w 460061"/>
                <a:gd name="connsiteY4" fmla="*/ 205105 h 282632"/>
                <a:gd name="connsiteX5" fmla="*/ 38944 w 460061"/>
                <a:gd name="connsiteY5" fmla="*/ 282633 h 282632"/>
                <a:gd name="connsiteX6" fmla="*/ 312658 w 460061"/>
                <a:gd name="connsiteY6" fmla="*/ 282633 h 282632"/>
                <a:gd name="connsiteX7" fmla="*/ 357541 w 460061"/>
                <a:gd name="connsiteY7" fmla="*/ 261043 h 282632"/>
                <a:gd name="connsiteX8" fmla="*/ 460061 w 460061"/>
                <a:gd name="connsiteY8" fmla="*/ 141562 h 282632"/>
                <a:gd name="connsiteX9" fmla="*/ 357541 w 460061"/>
                <a:gd name="connsiteY9" fmla="*/ 22081 h 28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0061" h="282632">
                  <a:moveTo>
                    <a:pt x="357541" y="21590"/>
                  </a:moveTo>
                  <a:cubicBezTo>
                    <a:pt x="345768" y="7606"/>
                    <a:pt x="329581" y="0"/>
                    <a:pt x="312658" y="0"/>
                  </a:cubicBezTo>
                  <a:lnTo>
                    <a:pt x="187083" y="0"/>
                  </a:lnTo>
                  <a:lnTo>
                    <a:pt x="66168" y="141316"/>
                  </a:lnTo>
                  <a:lnTo>
                    <a:pt x="11474" y="205105"/>
                  </a:lnTo>
                  <a:cubicBezTo>
                    <a:pt x="-13052" y="233810"/>
                    <a:pt x="4361" y="282633"/>
                    <a:pt x="38944" y="282633"/>
                  </a:cubicBezTo>
                  <a:lnTo>
                    <a:pt x="312658" y="282633"/>
                  </a:lnTo>
                  <a:cubicBezTo>
                    <a:pt x="329581" y="282633"/>
                    <a:pt x="345523" y="274782"/>
                    <a:pt x="357541" y="261043"/>
                  </a:cubicBezTo>
                  <a:lnTo>
                    <a:pt x="460061" y="141562"/>
                  </a:lnTo>
                  <a:lnTo>
                    <a:pt x="357541" y="22081"/>
                  </a:lnTo>
                  <a:close/>
                </a:path>
              </a:pathLst>
            </a:custGeom>
            <a:solidFill>
              <a:schemeClr val="accent2"/>
            </a:solidFill>
            <a:ln w="245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5" name="TextBox 37">
              <a:extLst>
                <a:ext uri="{FF2B5EF4-FFF2-40B4-BE49-F238E27FC236}">
                  <a16:creationId xmlns:a16="http://schemas.microsoft.com/office/drawing/2014/main" id="{4950EB3F-33C1-14F8-9862-E7F693407BF5}"/>
                </a:ext>
              </a:extLst>
            </p:cNvPr>
            <p:cNvSpPr txBox="1"/>
            <p:nvPr/>
          </p:nvSpPr>
          <p:spPr>
            <a:xfrm>
              <a:off x="955008" y="1881861"/>
              <a:ext cx="601447" cy="58477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b="1" dirty="0">
                  <a:solidFill>
                    <a:schemeClr val="bg1"/>
                  </a:solidFill>
                </a:rPr>
                <a:t>01</a:t>
              </a:r>
            </a:p>
          </p:txBody>
        </p:sp>
      </p:grpSp>
      <p:grpSp>
        <p:nvGrpSpPr>
          <p:cNvPr id="58" name="Group 57">
            <a:extLst>
              <a:ext uri="{FF2B5EF4-FFF2-40B4-BE49-F238E27FC236}">
                <a16:creationId xmlns:a16="http://schemas.microsoft.com/office/drawing/2014/main" id="{47412F1A-2F6C-378B-15AF-67BDFB0AEABE}"/>
              </a:ext>
            </a:extLst>
          </p:cNvPr>
          <p:cNvGrpSpPr/>
          <p:nvPr/>
        </p:nvGrpSpPr>
        <p:grpSpPr>
          <a:xfrm>
            <a:off x="3394989" y="2456543"/>
            <a:ext cx="2768688" cy="1700905"/>
            <a:chOff x="3416835" y="1881861"/>
            <a:chExt cx="2768688" cy="1700905"/>
          </a:xfrm>
        </p:grpSpPr>
        <p:sp>
          <p:nvSpPr>
            <p:cNvPr id="70" name="Freeform 8">
              <a:extLst>
                <a:ext uri="{FF2B5EF4-FFF2-40B4-BE49-F238E27FC236}">
                  <a16:creationId xmlns:a16="http://schemas.microsoft.com/office/drawing/2014/main" id="{9A197093-BC40-60BA-02CC-249E5EA1E340}"/>
                </a:ext>
              </a:extLst>
            </p:cNvPr>
            <p:cNvSpPr/>
            <p:nvPr/>
          </p:nvSpPr>
          <p:spPr>
            <a:xfrm>
              <a:off x="3416835" y="1881861"/>
              <a:ext cx="1125882" cy="850453"/>
            </a:xfrm>
            <a:custGeom>
              <a:avLst/>
              <a:gdLst>
                <a:gd name="connsiteX0" fmla="*/ 187083 w 187082"/>
                <a:gd name="connsiteY0" fmla="*/ 0 h 141316"/>
                <a:gd name="connsiteX1" fmla="*/ 38944 w 187082"/>
                <a:gd name="connsiteY1" fmla="*/ 0 h 141316"/>
                <a:gd name="connsiteX2" fmla="*/ 11474 w 187082"/>
                <a:gd name="connsiteY2" fmla="*/ 77528 h 141316"/>
                <a:gd name="connsiteX3" fmla="*/ 66168 w 187082"/>
                <a:gd name="connsiteY3" fmla="*/ 141316 h 141316"/>
                <a:gd name="connsiteX4" fmla="*/ 187083 w 187082"/>
                <a:gd name="connsiteY4" fmla="*/ 0 h 141316"/>
                <a:gd name="connsiteX0" fmla="*/ 187083 w 187083"/>
                <a:gd name="connsiteY0" fmla="*/ 0 h 141316"/>
                <a:gd name="connsiteX1" fmla="*/ 38944 w 187083"/>
                <a:gd name="connsiteY1" fmla="*/ 0 h 141316"/>
                <a:gd name="connsiteX2" fmla="*/ 11474 w 187083"/>
                <a:gd name="connsiteY2" fmla="*/ 77528 h 141316"/>
                <a:gd name="connsiteX3" fmla="*/ 66168 w 187083"/>
                <a:gd name="connsiteY3" fmla="*/ 141316 h 141316"/>
                <a:gd name="connsiteX4" fmla="*/ 124626 w 187083"/>
                <a:gd name="connsiteY4" fmla="*/ 70607 h 141316"/>
                <a:gd name="connsiteX5" fmla="*/ 187083 w 187083"/>
                <a:gd name="connsiteY5" fmla="*/ 0 h 141316"/>
                <a:gd name="connsiteX0" fmla="*/ 187083 w 187083"/>
                <a:gd name="connsiteY0" fmla="*/ 0 h 141316"/>
                <a:gd name="connsiteX1" fmla="*/ 38944 w 187083"/>
                <a:gd name="connsiteY1" fmla="*/ 0 h 141316"/>
                <a:gd name="connsiteX2" fmla="*/ 11474 w 187083"/>
                <a:gd name="connsiteY2" fmla="*/ 77528 h 141316"/>
                <a:gd name="connsiteX3" fmla="*/ 66168 w 187083"/>
                <a:gd name="connsiteY3" fmla="*/ 141316 h 141316"/>
                <a:gd name="connsiteX4" fmla="*/ 161460 w 187083"/>
                <a:gd name="connsiteY4" fmla="*/ 89024 h 141316"/>
                <a:gd name="connsiteX5" fmla="*/ 187083 w 187083"/>
                <a:gd name="connsiteY5" fmla="*/ 0 h 14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083" h="141316">
                  <a:moveTo>
                    <a:pt x="187083" y="0"/>
                  </a:moveTo>
                  <a:lnTo>
                    <a:pt x="38944" y="0"/>
                  </a:lnTo>
                  <a:cubicBezTo>
                    <a:pt x="4361" y="0"/>
                    <a:pt x="-13052" y="48823"/>
                    <a:pt x="11474" y="77528"/>
                  </a:cubicBezTo>
                  <a:lnTo>
                    <a:pt x="66168" y="141316"/>
                  </a:lnTo>
                  <a:lnTo>
                    <a:pt x="161460" y="89024"/>
                  </a:lnTo>
                  <a:lnTo>
                    <a:pt x="187083" y="0"/>
                  </a:lnTo>
                  <a:close/>
                </a:path>
              </a:pathLst>
            </a:custGeom>
            <a:solidFill>
              <a:schemeClr val="accent4">
                <a:lumMod val="75000"/>
              </a:schemeClr>
            </a:solidFill>
            <a:ln w="245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1" name="Freeform 9">
              <a:extLst>
                <a:ext uri="{FF2B5EF4-FFF2-40B4-BE49-F238E27FC236}">
                  <a16:creationId xmlns:a16="http://schemas.microsoft.com/office/drawing/2014/main" id="{A8E9A7D8-E55B-2958-D62F-D5496233E483}"/>
                </a:ext>
              </a:extLst>
            </p:cNvPr>
            <p:cNvSpPr/>
            <p:nvPr/>
          </p:nvSpPr>
          <p:spPr>
            <a:xfrm>
              <a:off x="3416835" y="1881861"/>
              <a:ext cx="2768688" cy="1700905"/>
            </a:xfrm>
            <a:custGeom>
              <a:avLst/>
              <a:gdLst>
                <a:gd name="connsiteX0" fmla="*/ 357541 w 460061"/>
                <a:gd name="connsiteY0" fmla="*/ 21590 h 282632"/>
                <a:gd name="connsiteX1" fmla="*/ 312658 w 460061"/>
                <a:gd name="connsiteY1" fmla="*/ 0 h 282632"/>
                <a:gd name="connsiteX2" fmla="*/ 187083 w 460061"/>
                <a:gd name="connsiteY2" fmla="*/ 0 h 282632"/>
                <a:gd name="connsiteX3" fmla="*/ 66168 w 460061"/>
                <a:gd name="connsiteY3" fmla="*/ 141316 h 282632"/>
                <a:gd name="connsiteX4" fmla="*/ 11474 w 460061"/>
                <a:gd name="connsiteY4" fmla="*/ 205105 h 282632"/>
                <a:gd name="connsiteX5" fmla="*/ 38944 w 460061"/>
                <a:gd name="connsiteY5" fmla="*/ 282633 h 282632"/>
                <a:gd name="connsiteX6" fmla="*/ 312658 w 460061"/>
                <a:gd name="connsiteY6" fmla="*/ 282633 h 282632"/>
                <a:gd name="connsiteX7" fmla="*/ 357541 w 460061"/>
                <a:gd name="connsiteY7" fmla="*/ 261043 h 282632"/>
                <a:gd name="connsiteX8" fmla="*/ 460061 w 460061"/>
                <a:gd name="connsiteY8" fmla="*/ 141562 h 282632"/>
                <a:gd name="connsiteX9" fmla="*/ 357541 w 460061"/>
                <a:gd name="connsiteY9" fmla="*/ 22081 h 28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0061" h="282632">
                  <a:moveTo>
                    <a:pt x="357541" y="21590"/>
                  </a:moveTo>
                  <a:cubicBezTo>
                    <a:pt x="345768" y="7606"/>
                    <a:pt x="329581" y="0"/>
                    <a:pt x="312658" y="0"/>
                  </a:cubicBezTo>
                  <a:lnTo>
                    <a:pt x="187083" y="0"/>
                  </a:lnTo>
                  <a:lnTo>
                    <a:pt x="66168" y="141316"/>
                  </a:lnTo>
                  <a:lnTo>
                    <a:pt x="11474" y="205105"/>
                  </a:lnTo>
                  <a:cubicBezTo>
                    <a:pt x="-13052" y="233810"/>
                    <a:pt x="4361" y="282633"/>
                    <a:pt x="38944" y="282633"/>
                  </a:cubicBezTo>
                  <a:lnTo>
                    <a:pt x="312658" y="282633"/>
                  </a:lnTo>
                  <a:cubicBezTo>
                    <a:pt x="329581" y="282633"/>
                    <a:pt x="345523" y="274782"/>
                    <a:pt x="357541" y="261043"/>
                  </a:cubicBezTo>
                  <a:lnTo>
                    <a:pt x="460061" y="141562"/>
                  </a:lnTo>
                  <a:lnTo>
                    <a:pt x="357541" y="22081"/>
                  </a:lnTo>
                  <a:close/>
                </a:path>
              </a:pathLst>
            </a:custGeom>
            <a:solidFill>
              <a:schemeClr val="accent4"/>
            </a:solidFill>
            <a:ln w="245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2" name="TextBox 42">
              <a:extLst>
                <a:ext uri="{FF2B5EF4-FFF2-40B4-BE49-F238E27FC236}">
                  <a16:creationId xmlns:a16="http://schemas.microsoft.com/office/drawing/2014/main" id="{EC71211C-1B43-1FE1-0D6E-2ABF128573EA}"/>
                </a:ext>
              </a:extLst>
            </p:cNvPr>
            <p:cNvSpPr txBox="1"/>
            <p:nvPr/>
          </p:nvSpPr>
          <p:spPr>
            <a:xfrm>
              <a:off x="3502852" y="1881861"/>
              <a:ext cx="601447" cy="58477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b="1" dirty="0">
                  <a:solidFill>
                    <a:schemeClr val="bg1"/>
                  </a:solidFill>
                </a:rPr>
                <a:t>02</a:t>
              </a:r>
            </a:p>
          </p:txBody>
        </p:sp>
      </p:grpSp>
      <p:grpSp>
        <p:nvGrpSpPr>
          <p:cNvPr id="60" name="Group 59">
            <a:extLst>
              <a:ext uri="{FF2B5EF4-FFF2-40B4-BE49-F238E27FC236}">
                <a16:creationId xmlns:a16="http://schemas.microsoft.com/office/drawing/2014/main" id="{116A579D-44F7-FB50-D1FF-58EBFA792A0F}"/>
              </a:ext>
            </a:extLst>
          </p:cNvPr>
          <p:cNvGrpSpPr/>
          <p:nvPr/>
        </p:nvGrpSpPr>
        <p:grpSpPr>
          <a:xfrm>
            <a:off x="8799166" y="2469208"/>
            <a:ext cx="2768689" cy="1700905"/>
            <a:chOff x="8574105" y="1881861"/>
            <a:chExt cx="2768689" cy="1700905"/>
          </a:xfrm>
        </p:grpSpPr>
        <p:sp>
          <p:nvSpPr>
            <p:cNvPr id="67" name="Freeform 12">
              <a:extLst>
                <a:ext uri="{FF2B5EF4-FFF2-40B4-BE49-F238E27FC236}">
                  <a16:creationId xmlns:a16="http://schemas.microsoft.com/office/drawing/2014/main" id="{1988779D-650B-3B94-9993-1C8729231592}"/>
                </a:ext>
              </a:extLst>
            </p:cNvPr>
            <p:cNvSpPr/>
            <p:nvPr/>
          </p:nvSpPr>
          <p:spPr>
            <a:xfrm>
              <a:off x="8575580" y="1881861"/>
              <a:ext cx="1125882" cy="850453"/>
            </a:xfrm>
            <a:custGeom>
              <a:avLst/>
              <a:gdLst>
                <a:gd name="connsiteX0" fmla="*/ 187083 w 187082"/>
                <a:gd name="connsiteY0" fmla="*/ 0 h 141316"/>
                <a:gd name="connsiteX1" fmla="*/ 38944 w 187082"/>
                <a:gd name="connsiteY1" fmla="*/ 0 h 141316"/>
                <a:gd name="connsiteX2" fmla="*/ 11474 w 187082"/>
                <a:gd name="connsiteY2" fmla="*/ 77528 h 141316"/>
                <a:gd name="connsiteX3" fmla="*/ 66168 w 187082"/>
                <a:gd name="connsiteY3" fmla="*/ 141316 h 141316"/>
                <a:gd name="connsiteX4" fmla="*/ 187083 w 187082"/>
                <a:gd name="connsiteY4" fmla="*/ 0 h 141316"/>
                <a:gd name="connsiteX0" fmla="*/ 187083 w 187083"/>
                <a:gd name="connsiteY0" fmla="*/ 0 h 141316"/>
                <a:gd name="connsiteX1" fmla="*/ 38944 w 187083"/>
                <a:gd name="connsiteY1" fmla="*/ 0 h 141316"/>
                <a:gd name="connsiteX2" fmla="*/ 11474 w 187083"/>
                <a:gd name="connsiteY2" fmla="*/ 77528 h 141316"/>
                <a:gd name="connsiteX3" fmla="*/ 66168 w 187083"/>
                <a:gd name="connsiteY3" fmla="*/ 141316 h 141316"/>
                <a:gd name="connsiteX4" fmla="*/ 119776 w 187083"/>
                <a:gd name="connsiteY4" fmla="*/ 78665 h 141316"/>
                <a:gd name="connsiteX5" fmla="*/ 187083 w 187083"/>
                <a:gd name="connsiteY5" fmla="*/ 0 h 141316"/>
                <a:gd name="connsiteX0" fmla="*/ 187083 w 187083"/>
                <a:gd name="connsiteY0" fmla="*/ 0 h 141316"/>
                <a:gd name="connsiteX1" fmla="*/ 38944 w 187083"/>
                <a:gd name="connsiteY1" fmla="*/ 0 h 141316"/>
                <a:gd name="connsiteX2" fmla="*/ 11474 w 187083"/>
                <a:gd name="connsiteY2" fmla="*/ 77528 h 141316"/>
                <a:gd name="connsiteX3" fmla="*/ 66168 w 187083"/>
                <a:gd name="connsiteY3" fmla="*/ 141316 h 141316"/>
                <a:gd name="connsiteX4" fmla="*/ 162366 w 187083"/>
                <a:gd name="connsiteY4" fmla="*/ 92478 h 141316"/>
                <a:gd name="connsiteX5" fmla="*/ 187083 w 187083"/>
                <a:gd name="connsiteY5" fmla="*/ 0 h 14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083" h="141316">
                  <a:moveTo>
                    <a:pt x="187083" y="0"/>
                  </a:moveTo>
                  <a:lnTo>
                    <a:pt x="38944" y="0"/>
                  </a:lnTo>
                  <a:cubicBezTo>
                    <a:pt x="4361" y="0"/>
                    <a:pt x="-13052" y="48823"/>
                    <a:pt x="11474" y="77528"/>
                  </a:cubicBezTo>
                  <a:lnTo>
                    <a:pt x="66168" y="141316"/>
                  </a:lnTo>
                  <a:lnTo>
                    <a:pt x="162366" y="92478"/>
                  </a:lnTo>
                  <a:lnTo>
                    <a:pt x="187083" y="0"/>
                  </a:lnTo>
                  <a:close/>
                </a:path>
              </a:pathLst>
            </a:custGeom>
            <a:solidFill>
              <a:schemeClr val="accent1">
                <a:lumMod val="75000"/>
              </a:schemeClr>
            </a:solidFill>
            <a:ln w="245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8" name="Freeform 13">
              <a:extLst>
                <a:ext uri="{FF2B5EF4-FFF2-40B4-BE49-F238E27FC236}">
                  <a16:creationId xmlns:a16="http://schemas.microsoft.com/office/drawing/2014/main" id="{BBFC01F7-7A91-5050-E4A1-5A20EA76EEA6}"/>
                </a:ext>
              </a:extLst>
            </p:cNvPr>
            <p:cNvSpPr/>
            <p:nvPr/>
          </p:nvSpPr>
          <p:spPr>
            <a:xfrm>
              <a:off x="8574105" y="1881861"/>
              <a:ext cx="2768689" cy="1700905"/>
            </a:xfrm>
            <a:custGeom>
              <a:avLst/>
              <a:gdLst>
                <a:gd name="connsiteX0" fmla="*/ 357541 w 460061"/>
                <a:gd name="connsiteY0" fmla="*/ 21590 h 282632"/>
                <a:gd name="connsiteX1" fmla="*/ 312658 w 460061"/>
                <a:gd name="connsiteY1" fmla="*/ 0 h 282632"/>
                <a:gd name="connsiteX2" fmla="*/ 187083 w 460061"/>
                <a:gd name="connsiteY2" fmla="*/ 0 h 282632"/>
                <a:gd name="connsiteX3" fmla="*/ 66168 w 460061"/>
                <a:gd name="connsiteY3" fmla="*/ 141316 h 282632"/>
                <a:gd name="connsiteX4" fmla="*/ 11474 w 460061"/>
                <a:gd name="connsiteY4" fmla="*/ 205105 h 282632"/>
                <a:gd name="connsiteX5" fmla="*/ 38944 w 460061"/>
                <a:gd name="connsiteY5" fmla="*/ 282633 h 282632"/>
                <a:gd name="connsiteX6" fmla="*/ 312658 w 460061"/>
                <a:gd name="connsiteY6" fmla="*/ 282633 h 282632"/>
                <a:gd name="connsiteX7" fmla="*/ 357541 w 460061"/>
                <a:gd name="connsiteY7" fmla="*/ 261043 h 282632"/>
                <a:gd name="connsiteX8" fmla="*/ 460061 w 460061"/>
                <a:gd name="connsiteY8" fmla="*/ 141562 h 282632"/>
                <a:gd name="connsiteX9" fmla="*/ 357541 w 460061"/>
                <a:gd name="connsiteY9" fmla="*/ 22081 h 28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0061" h="282632">
                  <a:moveTo>
                    <a:pt x="357541" y="21590"/>
                  </a:moveTo>
                  <a:cubicBezTo>
                    <a:pt x="345768" y="7606"/>
                    <a:pt x="329581" y="0"/>
                    <a:pt x="312658" y="0"/>
                  </a:cubicBezTo>
                  <a:lnTo>
                    <a:pt x="187083" y="0"/>
                  </a:lnTo>
                  <a:lnTo>
                    <a:pt x="66168" y="141316"/>
                  </a:lnTo>
                  <a:lnTo>
                    <a:pt x="11474" y="205105"/>
                  </a:lnTo>
                  <a:cubicBezTo>
                    <a:pt x="-13052" y="233810"/>
                    <a:pt x="4361" y="282633"/>
                    <a:pt x="38944" y="282633"/>
                  </a:cubicBezTo>
                  <a:lnTo>
                    <a:pt x="312658" y="282633"/>
                  </a:lnTo>
                  <a:cubicBezTo>
                    <a:pt x="329581" y="282633"/>
                    <a:pt x="345523" y="274782"/>
                    <a:pt x="357541" y="261043"/>
                  </a:cubicBezTo>
                  <a:lnTo>
                    <a:pt x="460061" y="141562"/>
                  </a:lnTo>
                  <a:lnTo>
                    <a:pt x="357541" y="22081"/>
                  </a:lnTo>
                  <a:close/>
                </a:path>
              </a:pathLst>
            </a:custGeom>
            <a:solidFill>
              <a:schemeClr val="accent1"/>
            </a:solidFill>
            <a:ln w="245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9" name="TextBox 47">
              <a:extLst>
                <a:ext uri="{FF2B5EF4-FFF2-40B4-BE49-F238E27FC236}">
                  <a16:creationId xmlns:a16="http://schemas.microsoft.com/office/drawing/2014/main" id="{D2F62FCA-2B89-B15F-946F-155259644FAD}"/>
                </a:ext>
              </a:extLst>
            </p:cNvPr>
            <p:cNvSpPr txBox="1"/>
            <p:nvPr/>
          </p:nvSpPr>
          <p:spPr>
            <a:xfrm>
              <a:off x="8683866" y="1881861"/>
              <a:ext cx="601447" cy="58477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b="1" dirty="0">
                  <a:solidFill>
                    <a:schemeClr val="bg1"/>
                  </a:solidFill>
                </a:rPr>
                <a:t>04</a:t>
              </a:r>
            </a:p>
          </p:txBody>
        </p:sp>
      </p:grpSp>
      <p:grpSp>
        <p:nvGrpSpPr>
          <p:cNvPr id="62" name="Group 61">
            <a:extLst>
              <a:ext uri="{FF2B5EF4-FFF2-40B4-BE49-F238E27FC236}">
                <a16:creationId xmlns:a16="http://schemas.microsoft.com/office/drawing/2014/main" id="{A4D3DB61-7A18-BE86-9E3F-36F2B1ABE706}"/>
              </a:ext>
            </a:extLst>
          </p:cNvPr>
          <p:cNvGrpSpPr/>
          <p:nvPr/>
        </p:nvGrpSpPr>
        <p:grpSpPr>
          <a:xfrm>
            <a:off x="6030477" y="2469208"/>
            <a:ext cx="2768689" cy="1700905"/>
            <a:chOff x="5995470" y="1881861"/>
            <a:chExt cx="2768689" cy="1700905"/>
          </a:xfrm>
        </p:grpSpPr>
        <p:sp>
          <p:nvSpPr>
            <p:cNvPr id="64" name="Freeform 6">
              <a:extLst>
                <a:ext uri="{FF2B5EF4-FFF2-40B4-BE49-F238E27FC236}">
                  <a16:creationId xmlns:a16="http://schemas.microsoft.com/office/drawing/2014/main" id="{33A76AF7-3B13-A7D3-7818-D52E020FBC9F}"/>
                </a:ext>
              </a:extLst>
            </p:cNvPr>
            <p:cNvSpPr/>
            <p:nvPr/>
          </p:nvSpPr>
          <p:spPr>
            <a:xfrm>
              <a:off x="5996944" y="1881861"/>
              <a:ext cx="1125882" cy="850453"/>
            </a:xfrm>
            <a:custGeom>
              <a:avLst/>
              <a:gdLst>
                <a:gd name="connsiteX0" fmla="*/ 187083 w 187082"/>
                <a:gd name="connsiteY0" fmla="*/ 0 h 141316"/>
                <a:gd name="connsiteX1" fmla="*/ 38944 w 187082"/>
                <a:gd name="connsiteY1" fmla="*/ 0 h 141316"/>
                <a:gd name="connsiteX2" fmla="*/ 11474 w 187082"/>
                <a:gd name="connsiteY2" fmla="*/ 77528 h 141316"/>
                <a:gd name="connsiteX3" fmla="*/ 66168 w 187082"/>
                <a:gd name="connsiteY3" fmla="*/ 141316 h 141316"/>
                <a:gd name="connsiteX4" fmla="*/ 187083 w 187082"/>
                <a:gd name="connsiteY4" fmla="*/ 0 h 141316"/>
                <a:gd name="connsiteX0" fmla="*/ 187083 w 187083"/>
                <a:gd name="connsiteY0" fmla="*/ 0 h 141316"/>
                <a:gd name="connsiteX1" fmla="*/ 38944 w 187083"/>
                <a:gd name="connsiteY1" fmla="*/ 0 h 141316"/>
                <a:gd name="connsiteX2" fmla="*/ 11474 w 187083"/>
                <a:gd name="connsiteY2" fmla="*/ 77528 h 141316"/>
                <a:gd name="connsiteX3" fmla="*/ 66168 w 187083"/>
                <a:gd name="connsiteY3" fmla="*/ 141316 h 141316"/>
                <a:gd name="connsiteX4" fmla="*/ 119992 w 187083"/>
                <a:gd name="connsiteY4" fmla="*/ 75212 h 141316"/>
                <a:gd name="connsiteX5" fmla="*/ 187083 w 187083"/>
                <a:gd name="connsiteY5" fmla="*/ 0 h 141316"/>
                <a:gd name="connsiteX0" fmla="*/ 187083 w 187083"/>
                <a:gd name="connsiteY0" fmla="*/ 0 h 141316"/>
                <a:gd name="connsiteX1" fmla="*/ 38944 w 187083"/>
                <a:gd name="connsiteY1" fmla="*/ 0 h 141316"/>
                <a:gd name="connsiteX2" fmla="*/ 11474 w 187083"/>
                <a:gd name="connsiteY2" fmla="*/ 77528 h 141316"/>
                <a:gd name="connsiteX3" fmla="*/ 66168 w 187083"/>
                <a:gd name="connsiteY3" fmla="*/ 141316 h 141316"/>
                <a:gd name="connsiteX4" fmla="*/ 147618 w 187083"/>
                <a:gd name="connsiteY4" fmla="*/ 100536 h 141316"/>
                <a:gd name="connsiteX5" fmla="*/ 187083 w 187083"/>
                <a:gd name="connsiteY5" fmla="*/ 0 h 14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083" h="141316">
                  <a:moveTo>
                    <a:pt x="187083" y="0"/>
                  </a:moveTo>
                  <a:lnTo>
                    <a:pt x="38944" y="0"/>
                  </a:lnTo>
                  <a:cubicBezTo>
                    <a:pt x="4361" y="0"/>
                    <a:pt x="-13052" y="48823"/>
                    <a:pt x="11474" y="77528"/>
                  </a:cubicBezTo>
                  <a:lnTo>
                    <a:pt x="66168" y="141316"/>
                  </a:lnTo>
                  <a:lnTo>
                    <a:pt x="147618" y="100536"/>
                  </a:lnTo>
                  <a:lnTo>
                    <a:pt x="187083" y="0"/>
                  </a:lnTo>
                  <a:close/>
                </a:path>
              </a:pathLst>
            </a:custGeom>
            <a:solidFill>
              <a:schemeClr val="accent5">
                <a:lumMod val="75000"/>
              </a:schemeClr>
            </a:solidFill>
            <a:ln w="245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5" name="Freeform 7">
              <a:extLst>
                <a:ext uri="{FF2B5EF4-FFF2-40B4-BE49-F238E27FC236}">
                  <a16:creationId xmlns:a16="http://schemas.microsoft.com/office/drawing/2014/main" id="{C305506D-6914-0688-D8F3-7CEA0BB25DBD}"/>
                </a:ext>
              </a:extLst>
            </p:cNvPr>
            <p:cNvSpPr/>
            <p:nvPr/>
          </p:nvSpPr>
          <p:spPr>
            <a:xfrm>
              <a:off x="5995470" y="1881861"/>
              <a:ext cx="2768689" cy="1700905"/>
            </a:xfrm>
            <a:custGeom>
              <a:avLst/>
              <a:gdLst>
                <a:gd name="connsiteX0" fmla="*/ 357541 w 460061"/>
                <a:gd name="connsiteY0" fmla="*/ 21590 h 282632"/>
                <a:gd name="connsiteX1" fmla="*/ 312658 w 460061"/>
                <a:gd name="connsiteY1" fmla="*/ 0 h 282632"/>
                <a:gd name="connsiteX2" fmla="*/ 187083 w 460061"/>
                <a:gd name="connsiteY2" fmla="*/ 0 h 282632"/>
                <a:gd name="connsiteX3" fmla="*/ 66168 w 460061"/>
                <a:gd name="connsiteY3" fmla="*/ 141316 h 282632"/>
                <a:gd name="connsiteX4" fmla="*/ 11474 w 460061"/>
                <a:gd name="connsiteY4" fmla="*/ 205105 h 282632"/>
                <a:gd name="connsiteX5" fmla="*/ 38944 w 460061"/>
                <a:gd name="connsiteY5" fmla="*/ 282633 h 282632"/>
                <a:gd name="connsiteX6" fmla="*/ 312658 w 460061"/>
                <a:gd name="connsiteY6" fmla="*/ 282633 h 282632"/>
                <a:gd name="connsiteX7" fmla="*/ 357541 w 460061"/>
                <a:gd name="connsiteY7" fmla="*/ 261043 h 282632"/>
                <a:gd name="connsiteX8" fmla="*/ 460061 w 460061"/>
                <a:gd name="connsiteY8" fmla="*/ 141562 h 282632"/>
                <a:gd name="connsiteX9" fmla="*/ 357541 w 460061"/>
                <a:gd name="connsiteY9" fmla="*/ 22081 h 28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0061" h="282632">
                  <a:moveTo>
                    <a:pt x="357541" y="21590"/>
                  </a:moveTo>
                  <a:cubicBezTo>
                    <a:pt x="345768" y="7606"/>
                    <a:pt x="329581" y="0"/>
                    <a:pt x="312658" y="0"/>
                  </a:cubicBezTo>
                  <a:lnTo>
                    <a:pt x="187083" y="0"/>
                  </a:lnTo>
                  <a:lnTo>
                    <a:pt x="66168" y="141316"/>
                  </a:lnTo>
                  <a:lnTo>
                    <a:pt x="11474" y="205105"/>
                  </a:lnTo>
                  <a:cubicBezTo>
                    <a:pt x="-13052" y="233810"/>
                    <a:pt x="4361" y="282633"/>
                    <a:pt x="38944" y="282633"/>
                  </a:cubicBezTo>
                  <a:lnTo>
                    <a:pt x="312658" y="282633"/>
                  </a:lnTo>
                  <a:cubicBezTo>
                    <a:pt x="329581" y="282633"/>
                    <a:pt x="345523" y="274782"/>
                    <a:pt x="357541" y="261043"/>
                  </a:cubicBezTo>
                  <a:lnTo>
                    <a:pt x="460061" y="141562"/>
                  </a:lnTo>
                  <a:lnTo>
                    <a:pt x="357541" y="22081"/>
                  </a:lnTo>
                  <a:close/>
                </a:path>
              </a:pathLst>
            </a:custGeom>
            <a:solidFill>
              <a:schemeClr val="accent5"/>
            </a:solidFill>
            <a:ln w="245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6" name="TextBox 52">
              <a:extLst>
                <a:ext uri="{FF2B5EF4-FFF2-40B4-BE49-F238E27FC236}">
                  <a16:creationId xmlns:a16="http://schemas.microsoft.com/office/drawing/2014/main" id="{6100B9F8-3B3F-BA1E-4D1D-C6E952D8F409}"/>
                </a:ext>
              </a:extLst>
            </p:cNvPr>
            <p:cNvSpPr txBox="1"/>
            <p:nvPr/>
          </p:nvSpPr>
          <p:spPr>
            <a:xfrm>
              <a:off x="6074864" y="1881861"/>
              <a:ext cx="601447" cy="58477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b="1" dirty="0">
                  <a:solidFill>
                    <a:schemeClr val="bg1"/>
                  </a:solidFill>
                </a:rPr>
                <a:t>03</a:t>
              </a:r>
            </a:p>
          </p:txBody>
        </p:sp>
      </p:grpSp>
      <p:pic>
        <p:nvPicPr>
          <p:cNvPr id="59" name="Graphic 43">
            <a:extLst>
              <a:ext uri="{FF2B5EF4-FFF2-40B4-BE49-F238E27FC236}">
                <a16:creationId xmlns:a16="http://schemas.microsoft.com/office/drawing/2014/main" id="{42E5491A-2EE0-1E8A-1666-FFD593EFC08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85083" y="2769388"/>
            <a:ext cx="1125876" cy="1125876"/>
          </a:xfrm>
          <a:prstGeom prst="rect">
            <a:avLst/>
          </a:prstGeom>
        </p:spPr>
      </p:pic>
      <p:pic>
        <p:nvPicPr>
          <p:cNvPr id="3" name="Image 2">
            <a:extLst>
              <a:ext uri="{FF2B5EF4-FFF2-40B4-BE49-F238E27FC236}">
                <a16:creationId xmlns:a16="http://schemas.microsoft.com/office/drawing/2014/main" id="{A460085E-B3EC-3A23-2241-4ACB93E7652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04414" y="2769388"/>
            <a:ext cx="1125882" cy="1125882"/>
          </a:xfrm>
          <a:prstGeom prst="rect">
            <a:avLst/>
          </a:prstGeom>
        </p:spPr>
      </p:pic>
      <p:pic>
        <p:nvPicPr>
          <p:cNvPr id="5" name="Image 4">
            <a:extLst>
              <a:ext uri="{FF2B5EF4-FFF2-40B4-BE49-F238E27FC236}">
                <a16:creationId xmlns:a16="http://schemas.microsoft.com/office/drawing/2014/main" id="{00C0D888-0FB3-2C24-0471-0222C73D17D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97095" y="2543715"/>
            <a:ext cx="1526560" cy="1526560"/>
          </a:xfrm>
          <a:prstGeom prst="rect">
            <a:avLst/>
          </a:prstGeom>
        </p:spPr>
      </p:pic>
      <p:pic>
        <p:nvPicPr>
          <p:cNvPr id="7" name="Image 6">
            <a:extLst>
              <a:ext uri="{FF2B5EF4-FFF2-40B4-BE49-F238E27FC236}">
                <a16:creationId xmlns:a16="http://schemas.microsoft.com/office/drawing/2014/main" id="{BAD7919A-99F0-1671-A8D3-8D13A9C9E99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51441" y="2712349"/>
            <a:ext cx="1208749" cy="1208749"/>
          </a:xfrm>
          <a:prstGeom prst="rect">
            <a:avLst/>
          </a:prstGeom>
        </p:spPr>
      </p:pic>
      <p:sp>
        <p:nvSpPr>
          <p:cNvPr id="2" name="Rectangle 1">
            <a:extLst>
              <a:ext uri="{FF2B5EF4-FFF2-40B4-BE49-F238E27FC236}">
                <a16:creationId xmlns:a16="http://schemas.microsoft.com/office/drawing/2014/main" id="{8AE585BC-E8CF-4D3D-9CAD-AE8CD794E6E3}"/>
              </a:ext>
            </a:extLst>
          </p:cNvPr>
          <p:cNvSpPr/>
          <p:nvPr/>
        </p:nvSpPr>
        <p:spPr>
          <a:xfrm>
            <a:off x="11527008" y="6273225"/>
            <a:ext cx="601447" cy="584775"/>
          </a:xfrm>
          <a:prstGeom prst="rect">
            <a:avLst/>
          </a:prstGeom>
        </p:spPr>
        <p:txBody>
          <a:bodyPr wrap="none">
            <a:spAutoFit/>
          </a:bodyPr>
          <a:lstStyle/>
          <a:p>
            <a:r>
              <a:rPr lang="en-US" sz="3200" b="1" dirty="0">
                <a:ln/>
                <a:solidFill>
                  <a:schemeClr val="accent3"/>
                </a:solidFill>
              </a:rPr>
              <a:t>32</a:t>
            </a:r>
            <a:endParaRPr lang="fr-TN" sz="3200" dirty="0"/>
          </a:p>
        </p:txBody>
      </p:sp>
    </p:spTree>
    <p:extLst>
      <p:ext uri="{BB962C8B-B14F-4D97-AF65-F5344CB8AC3E}">
        <p14:creationId xmlns:p14="http://schemas.microsoft.com/office/powerpoint/2010/main" val="12043999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13F209F-5271-419B-AD72-E60FF551AFAA}"/>
              </a:ext>
            </a:extLst>
          </p:cNvPr>
          <p:cNvSpPr/>
          <p:nvPr/>
        </p:nvSpPr>
        <p:spPr>
          <a:xfrm>
            <a:off x="8559274" y="2962275"/>
            <a:ext cx="3632726" cy="3416320"/>
          </a:xfrm>
          <a:prstGeom prst="rect">
            <a:avLst/>
          </a:prstGeom>
        </p:spPr>
        <p:txBody>
          <a:bodyPr wrap="none">
            <a:spAutoFit/>
          </a:bodyPr>
          <a:lstStyle/>
          <a:p>
            <a:r>
              <a:rPr lang="fr-FR" sz="3600" dirty="0">
                <a:solidFill>
                  <a:prstClr val="white"/>
                </a:solidFill>
                <a:latin typeface="Darker Grotesque" pitchFamily="2" charset="0"/>
              </a:rPr>
              <a:t>Merci</a:t>
            </a:r>
            <a:endParaRPr lang="fr-FR" dirty="0">
              <a:solidFill>
                <a:prstClr val="white"/>
              </a:solidFill>
              <a:latin typeface="Darker Grotesque" pitchFamily="2" charset="0"/>
            </a:endParaRPr>
          </a:p>
          <a:p>
            <a:endParaRPr lang="fr-FR" dirty="0">
              <a:solidFill>
                <a:prstClr val="white"/>
              </a:solidFill>
              <a:latin typeface="Darker Grotesque" pitchFamily="2" charset="0"/>
            </a:endParaRPr>
          </a:p>
          <a:p>
            <a:endParaRPr lang="fr-FR" dirty="0">
              <a:solidFill>
                <a:prstClr val="white"/>
              </a:solidFill>
              <a:latin typeface="Darker Grotesque" pitchFamily="2" charset="0"/>
            </a:endParaRPr>
          </a:p>
          <a:p>
            <a:r>
              <a:rPr lang="fr-FR" sz="1600" dirty="0">
                <a:solidFill>
                  <a:schemeClr val="bg1"/>
                </a:solidFill>
                <a:latin typeface="Darker Grotesque" pitchFamily="2" charset="0"/>
              </a:rPr>
              <a:t>Mme. </a:t>
            </a:r>
            <a:r>
              <a:rPr lang="fr-FR" sz="1600" b="1" dirty="0" err="1">
                <a:solidFill>
                  <a:schemeClr val="bg1"/>
                </a:solidFill>
              </a:rPr>
              <a:t>Nourhene</a:t>
            </a:r>
            <a:r>
              <a:rPr lang="fr-FR" sz="1600" b="1" dirty="0">
                <a:solidFill>
                  <a:schemeClr val="bg1"/>
                </a:solidFill>
              </a:rPr>
              <a:t> </a:t>
            </a:r>
            <a:r>
              <a:rPr lang="fr-FR" sz="1600" b="1" dirty="0" err="1">
                <a:solidFill>
                  <a:schemeClr val="bg1"/>
                </a:solidFill>
              </a:rPr>
              <a:t>Chabchoub</a:t>
            </a:r>
            <a:endParaRPr lang="fr-FR" sz="1600" dirty="0">
              <a:solidFill>
                <a:schemeClr val="bg1"/>
              </a:solidFill>
              <a:latin typeface="Darker Grotesque" pitchFamily="2" charset="0"/>
            </a:endParaRPr>
          </a:p>
          <a:p>
            <a:r>
              <a:rPr lang="fr-FR" sz="1600" dirty="0">
                <a:solidFill>
                  <a:schemeClr val="bg1"/>
                </a:solidFill>
                <a:latin typeface="Darker Grotesque" pitchFamily="2" charset="0"/>
              </a:rPr>
              <a:t>Mme. </a:t>
            </a:r>
            <a:r>
              <a:rPr lang="fr-FR" sz="1600" b="1" dirty="0" err="1">
                <a:solidFill>
                  <a:schemeClr val="bg1"/>
                </a:solidFill>
              </a:rPr>
              <a:t>Dorra</a:t>
            </a:r>
            <a:r>
              <a:rPr lang="fr-FR" sz="1600" b="1" dirty="0">
                <a:solidFill>
                  <a:schemeClr val="bg1"/>
                </a:solidFill>
              </a:rPr>
              <a:t> </a:t>
            </a:r>
            <a:r>
              <a:rPr lang="fr-FR" sz="1600" b="1" dirty="0" err="1">
                <a:solidFill>
                  <a:schemeClr val="bg1"/>
                </a:solidFill>
              </a:rPr>
              <a:t>Guermazi</a:t>
            </a:r>
            <a:r>
              <a:rPr lang="fr-FR" sz="1600" b="1" dirty="0">
                <a:solidFill>
                  <a:schemeClr val="bg1"/>
                </a:solidFill>
              </a:rPr>
              <a:t> </a:t>
            </a:r>
          </a:p>
          <a:p>
            <a:r>
              <a:rPr lang="fr-FR" sz="1600" dirty="0">
                <a:solidFill>
                  <a:schemeClr val="bg1"/>
                </a:solidFill>
                <a:latin typeface="Darker Grotesque" pitchFamily="2" charset="0"/>
              </a:rPr>
              <a:t>Mme. </a:t>
            </a:r>
            <a:r>
              <a:rPr lang="fr-FR" sz="1600" b="1" dirty="0" err="1">
                <a:solidFill>
                  <a:schemeClr val="bg1"/>
                </a:solidFill>
              </a:rPr>
              <a:t>Jihene</a:t>
            </a:r>
            <a:r>
              <a:rPr lang="fr-FR" sz="1600" b="1" dirty="0">
                <a:solidFill>
                  <a:schemeClr val="bg1"/>
                </a:solidFill>
              </a:rPr>
              <a:t> El </a:t>
            </a:r>
            <a:r>
              <a:rPr lang="fr-FR" sz="1600" b="1" dirty="0" err="1">
                <a:solidFill>
                  <a:schemeClr val="bg1"/>
                </a:solidFill>
              </a:rPr>
              <a:t>Ouakdi</a:t>
            </a:r>
            <a:r>
              <a:rPr lang="fr-FR" sz="1600" b="1" dirty="0">
                <a:solidFill>
                  <a:schemeClr val="bg1"/>
                </a:solidFill>
              </a:rPr>
              <a:t> </a:t>
            </a:r>
          </a:p>
          <a:p>
            <a:endParaRPr lang="fr-FR" sz="1600" dirty="0">
              <a:solidFill>
                <a:schemeClr val="bg1"/>
              </a:solidFill>
            </a:endParaRPr>
          </a:p>
          <a:p>
            <a:r>
              <a:rPr lang="fr-FR" sz="1600" dirty="0">
                <a:solidFill>
                  <a:schemeClr val="bg1"/>
                </a:solidFill>
                <a:latin typeface="Darker Grotesque" pitchFamily="2" charset="0"/>
              </a:rPr>
              <a:t>Khaled ABDELLATIF</a:t>
            </a:r>
            <a:endParaRPr lang="fr-FR" sz="1600" dirty="0">
              <a:solidFill>
                <a:schemeClr val="bg1"/>
              </a:solidFill>
            </a:endParaRPr>
          </a:p>
          <a:p>
            <a:r>
              <a:rPr lang="fr-FR" sz="1600" dirty="0">
                <a:solidFill>
                  <a:schemeClr val="bg1"/>
                </a:solidFill>
                <a:latin typeface="Darker Grotesque" pitchFamily="2" charset="0"/>
              </a:rPr>
              <a:t>Adem HAMROUN</a:t>
            </a:r>
            <a:endParaRPr lang="fr-FR" sz="1600" dirty="0">
              <a:solidFill>
                <a:schemeClr val="bg1"/>
              </a:solidFill>
            </a:endParaRPr>
          </a:p>
          <a:p>
            <a:br>
              <a:rPr lang="fr-FR" sz="1600" dirty="0">
                <a:solidFill>
                  <a:schemeClr val="bg1"/>
                </a:solidFill>
              </a:rPr>
            </a:br>
            <a:r>
              <a:rPr lang="fr-FR" sz="1600" dirty="0">
                <a:solidFill>
                  <a:schemeClr val="bg1"/>
                </a:solidFill>
              </a:rPr>
              <a:t>Pôle de l'étudiant entrepreneur UMA PEE</a:t>
            </a:r>
            <a:br>
              <a:rPr lang="fr-FR" sz="1600" dirty="0">
                <a:solidFill>
                  <a:schemeClr val="bg1"/>
                </a:solidFill>
              </a:rPr>
            </a:br>
            <a:r>
              <a:rPr lang="fr-FR" sz="1600" dirty="0">
                <a:solidFill>
                  <a:schemeClr val="bg1"/>
                </a:solidFill>
              </a:rPr>
              <a:t>ESEN</a:t>
            </a:r>
            <a:endParaRPr lang="fr-TN" sz="1600" dirty="0">
              <a:solidFill>
                <a:schemeClr val="bg1"/>
              </a:solidFill>
            </a:endParaRPr>
          </a:p>
        </p:txBody>
      </p:sp>
      <p:sp>
        <p:nvSpPr>
          <p:cNvPr id="10" name="Rectangle 9">
            <a:extLst>
              <a:ext uri="{FF2B5EF4-FFF2-40B4-BE49-F238E27FC236}">
                <a16:creationId xmlns:a16="http://schemas.microsoft.com/office/drawing/2014/main" id="{EAA0AFF2-A654-4A5F-95C5-2F7E4CD828A5}"/>
              </a:ext>
            </a:extLst>
          </p:cNvPr>
          <p:cNvSpPr/>
          <p:nvPr/>
        </p:nvSpPr>
        <p:spPr>
          <a:xfrm>
            <a:off x="7620908" y="6858000"/>
            <a:ext cx="3477704" cy="2123658"/>
          </a:xfrm>
          <a:prstGeom prst="rect">
            <a:avLst/>
          </a:prstGeom>
        </p:spPr>
        <p:txBody>
          <a:bodyPr wrap="square">
            <a:spAutoFit/>
          </a:bodyPr>
          <a:lstStyle/>
          <a:p>
            <a:pPr algn="ctr"/>
            <a:r>
              <a:rPr lang="fr-FR" sz="4400" dirty="0">
                <a:solidFill>
                  <a:schemeClr val="bg1"/>
                </a:solidFill>
                <a:latin typeface="Arial Rounded MT Bold" panose="020F0704030504030204" pitchFamily="34" charset="0"/>
              </a:rPr>
              <a:t>Merci pour votre </a:t>
            </a:r>
          </a:p>
          <a:p>
            <a:pPr algn="ctr"/>
            <a:r>
              <a:rPr lang="fr-FR" sz="4400" b="1" dirty="0">
                <a:solidFill>
                  <a:schemeClr val="bg1"/>
                </a:solidFill>
                <a:latin typeface="Arial Rounded MT Bold" panose="020F0704030504030204" pitchFamily="34" charset="0"/>
              </a:rPr>
              <a:t>ATTENTION</a:t>
            </a:r>
            <a:endParaRPr lang="fr-FR" sz="4400" dirty="0">
              <a:solidFill>
                <a:schemeClr val="bg1"/>
              </a:solidFill>
              <a:latin typeface="Arial Rounded MT Bold" panose="020F0704030504030204" pitchFamily="34" charset="0"/>
            </a:endParaRPr>
          </a:p>
        </p:txBody>
      </p:sp>
    </p:spTree>
    <p:extLst>
      <p:ext uri="{BB962C8B-B14F-4D97-AF65-F5344CB8AC3E}">
        <p14:creationId xmlns:p14="http://schemas.microsoft.com/office/powerpoint/2010/main" val="20715435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8"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5000" fill="hold"/>
                                        <p:tgtEl>
                                          <p:spTgt spid="9"/>
                                        </p:tgtEl>
                                        <p:attrNameLst>
                                          <p:attrName>ppt_x</p:attrName>
                                        </p:attrNameLst>
                                      </p:cBhvr>
                                      <p:tavLst>
                                        <p:tav tm="0">
                                          <p:val>
                                            <p:strVal val="#ppt_x"/>
                                          </p:val>
                                        </p:tav>
                                        <p:tav tm="100000">
                                          <p:val>
                                            <p:strVal val="#ppt_x"/>
                                          </p:val>
                                        </p:tav>
                                      </p:tavLst>
                                    </p:anim>
                                    <p:anim calcmode="lin" valueType="num">
                                      <p:cBhvr>
                                        <p:cTn id="8" dur="15000" fill="hold"/>
                                        <p:tgtEl>
                                          <p:spTgt spid="9"/>
                                        </p:tgtEl>
                                        <p:attrNameLst>
                                          <p:attrName>ppt_y</p:attrName>
                                        </p:attrNameLst>
                                      </p:cBhvr>
                                      <p:tavLst>
                                        <p:tav tm="0">
                                          <p:val>
                                            <p:strVal val="#ppt_y+1"/>
                                          </p:val>
                                        </p:tav>
                                        <p:tav tm="100000">
                                          <p:val>
                                            <p:strVal val="#ppt_y-1"/>
                                          </p:val>
                                        </p:tav>
                                      </p:tavLst>
                                    </p:anim>
                                  </p:childTnLst>
                                </p:cTn>
                              </p:par>
                              <p:par>
                                <p:cTn id="9" presetID="42" presetClass="path" presetSubtype="0" accel="50000" decel="50000" fill="hold" grpId="0" nodeType="withEffect">
                                  <p:stCondLst>
                                    <p:cond delay="12000"/>
                                  </p:stCondLst>
                                  <p:childTnLst>
                                    <p:animMotion origin="layout" path="M -0.00026 -0.65486 L 0.00182 0.18264 " pathEditMode="relative" rAng="0" ptsTypes="AA">
                                      <p:cBhvr>
                                        <p:cTn id="10" dur="2000" spd="-100000" fill="hold"/>
                                        <p:tgtEl>
                                          <p:spTgt spid="10"/>
                                        </p:tgtEl>
                                        <p:attrNameLst>
                                          <p:attrName>ppt_x</p:attrName>
                                          <p:attrName>ppt_y</p:attrName>
                                        </p:attrNameLst>
                                      </p:cBhvr>
                                      <p:rCtr x="104" y="4187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1659467" y="1536030"/>
            <a:ext cx="8873066" cy="1808508"/>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3600" b="0" i="0" u="none" strike="noStrike" kern="0" cap="none" spc="0" normalizeH="0" baseline="0" noProof="0" dirty="0">
                <a:ln>
                  <a:noFill/>
                </a:ln>
                <a:solidFill>
                  <a:prstClr val="white"/>
                </a:solidFill>
                <a:effectLst/>
                <a:uLnTx/>
                <a:uFillTx/>
                <a:latin typeface="Darker Grotesque" pitchFamily="2" charset="0"/>
              </a:rPr>
              <a:t>Solution</a:t>
            </a:r>
          </a:p>
        </p:txBody>
      </p:sp>
      <p:sp>
        <p:nvSpPr>
          <p:cNvPr id="2" name="TextBox 1">
            <a:extLst>
              <a:ext uri="{FF2B5EF4-FFF2-40B4-BE49-F238E27FC236}">
                <a16:creationId xmlns:a16="http://schemas.microsoft.com/office/drawing/2014/main" id="{261C56D4-6002-E420-A227-B49CA7DB3AE7}"/>
              </a:ext>
            </a:extLst>
          </p:cNvPr>
          <p:cNvSpPr txBox="1"/>
          <p:nvPr/>
        </p:nvSpPr>
        <p:spPr>
          <a:xfrm>
            <a:off x="1060025" y="3344538"/>
            <a:ext cx="9847352" cy="1808508"/>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3600" b="0" i="0" u="none" strike="noStrike" kern="0" cap="none" spc="0" normalizeH="0" baseline="0" noProof="0" dirty="0">
                <a:ln>
                  <a:noFill/>
                </a:ln>
                <a:solidFill>
                  <a:prstClr val="white"/>
                </a:solidFill>
                <a:effectLst/>
                <a:uLnTx/>
                <a:uFillTx/>
                <a:latin typeface="Darker Grotesque" pitchFamily="2" charset="0"/>
              </a:rPr>
              <a:t>Proposée</a:t>
            </a:r>
          </a:p>
        </p:txBody>
      </p:sp>
    </p:spTree>
    <p:extLst>
      <p:ext uri="{BB962C8B-B14F-4D97-AF65-F5344CB8AC3E}">
        <p14:creationId xmlns:p14="http://schemas.microsoft.com/office/powerpoint/2010/main" val="2093410846"/>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393592" y="2165403"/>
            <a:ext cx="11152816" cy="1808508"/>
          </a:xfrm>
          <a:prstGeom prst="rect">
            <a:avLst/>
          </a:prstGeom>
          <a:noFill/>
        </p:spPr>
        <p:txBody>
          <a:bodyPr wrap="square" rtlCol="0">
            <a:spAutoFit/>
          </a:bodyPr>
          <a:lstStyle/>
          <a:p>
            <a:pPr lvl="0" algn="ctr">
              <a:lnSpc>
                <a:spcPct val="80000"/>
              </a:lnSpc>
              <a:defRPr/>
            </a:pPr>
            <a:r>
              <a:rPr lang="en-US" sz="13600" kern="0" dirty="0">
                <a:solidFill>
                  <a:prstClr val="white"/>
                </a:solidFill>
                <a:latin typeface="Darker Grotesque" pitchFamily="2" charset="0"/>
              </a:rPr>
              <a:t>Problématique</a:t>
            </a:r>
            <a:r>
              <a:rPr kumimoji="0" lang="en-US" sz="9600" b="0" i="0" u="none" strike="noStrike" kern="0" cap="none" spc="0" normalizeH="0" baseline="0" noProof="0" dirty="0">
                <a:ln>
                  <a:noFill/>
                </a:ln>
                <a:solidFill>
                  <a:prstClr val="white"/>
                </a:solidFill>
                <a:effectLst/>
                <a:uLnTx/>
                <a:uFillTx/>
                <a:latin typeface="Darker Grotesque" pitchFamily="2" charset="0"/>
              </a:rPr>
              <a:t>  </a:t>
            </a:r>
          </a:p>
        </p:txBody>
      </p:sp>
    </p:spTree>
    <p:extLst>
      <p:ext uri="{BB962C8B-B14F-4D97-AF65-F5344CB8AC3E}">
        <p14:creationId xmlns:p14="http://schemas.microsoft.com/office/powerpoint/2010/main" val="236446107"/>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77FBE26-344E-4684-A050-F44414B37E0A}"/>
              </a:ext>
            </a:extLst>
          </p:cNvPr>
          <p:cNvSpPr txBox="1"/>
          <p:nvPr/>
        </p:nvSpPr>
        <p:spPr>
          <a:xfrm>
            <a:off x="324673" y="1392572"/>
            <a:ext cx="3619902" cy="917174"/>
          </a:xfrm>
          <a:prstGeom prst="rect">
            <a:avLst/>
          </a:prstGeom>
          <a:noFill/>
        </p:spPr>
        <p:txBody>
          <a:bodyPr wrap="non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r>
              <a:rPr lang="en-US" dirty="0">
                <a:solidFill>
                  <a:schemeClr val="bg1"/>
                </a:solidFill>
              </a:rPr>
              <a:t>Cabinoo</a:t>
            </a:r>
          </a:p>
        </p:txBody>
      </p:sp>
      <p:grpSp>
        <p:nvGrpSpPr>
          <p:cNvPr id="71" name="Group 70">
            <a:extLst>
              <a:ext uri="{FF2B5EF4-FFF2-40B4-BE49-F238E27FC236}">
                <a16:creationId xmlns:a16="http://schemas.microsoft.com/office/drawing/2014/main" id="{3ABFE885-D5AB-4A3C-936F-952B08CFAE83}"/>
              </a:ext>
            </a:extLst>
          </p:cNvPr>
          <p:cNvGrpSpPr/>
          <p:nvPr/>
        </p:nvGrpSpPr>
        <p:grpSpPr>
          <a:xfrm>
            <a:off x="142212" y="2953466"/>
            <a:ext cx="2616914" cy="951068"/>
            <a:chOff x="709573" y="3995713"/>
            <a:chExt cx="3035300" cy="1103122"/>
          </a:xfrm>
        </p:grpSpPr>
        <p:sp>
          <p:nvSpPr>
            <p:cNvPr id="9" name="Rounded Rectangle 95">
              <a:extLst>
                <a:ext uri="{FF2B5EF4-FFF2-40B4-BE49-F238E27FC236}">
                  <a16:creationId xmlns:a16="http://schemas.microsoft.com/office/drawing/2014/main" id="{9457FEE0-0584-48E4-8D08-9303CDB85329}"/>
                </a:ext>
              </a:extLst>
            </p:cNvPr>
            <p:cNvSpPr/>
            <p:nvPr/>
          </p:nvSpPr>
          <p:spPr>
            <a:xfrm>
              <a:off x="709573" y="3995713"/>
              <a:ext cx="3035300" cy="1103122"/>
            </a:xfrm>
            <a:prstGeom prst="roundRect">
              <a:avLst>
                <a:gd name="adj" fmla="val 10323"/>
              </a:avLst>
            </a:prstGeom>
            <a:solidFill>
              <a:schemeClr val="bg1">
                <a:alpha val="1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900" i="0" u="none" strike="noStrike" kern="1200" cap="none" spc="3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481539D6-9600-428D-9BBD-9D6679E9DE9D}"/>
                </a:ext>
              </a:extLst>
            </p:cNvPr>
            <p:cNvSpPr txBox="1"/>
            <p:nvPr/>
          </p:nvSpPr>
          <p:spPr>
            <a:xfrm>
              <a:off x="843511" y="4301680"/>
              <a:ext cx="2814089" cy="521047"/>
            </a:xfrm>
            <a:prstGeom prst="rect">
              <a:avLst/>
            </a:prstGeom>
            <a:noFill/>
          </p:spPr>
          <p:txBody>
            <a:bodyPr wrap="square" lIns="0" tIns="0" rIns="0" bIns="0" anchor="t">
              <a:spAutoFit/>
            </a:bodyPr>
            <a:lstStyle>
              <a:defPPr>
                <a:defRPr lang="en-US"/>
              </a:defPPr>
              <a:lvl1pPr marR="0" lvl="0" indent="0" fontAlgn="auto">
                <a:lnSpc>
                  <a:spcPct val="8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cs typeface="Poppins SemiBold" panose="00000700000000000000" pitchFamily="2" charset="0"/>
                </a:defRPr>
              </a:lvl1pPr>
            </a:lstStyle>
            <a:p>
              <a:pPr algn="ctr"/>
              <a:r>
                <a:rPr lang="fr-FR" sz="1800" b="1" dirty="0"/>
                <a:t>Plateforme centralisée de réservation</a:t>
              </a:r>
              <a:endParaRPr lang="en-US" sz="2000" b="1" dirty="0">
                <a:solidFill>
                  <a:schemeClr val="bg1"/>
                </a:solidFill>
                <a:latin typeface="Arial" panose="020B0604020202020204" pitchFamily="34" charset="0"/>
                <a:cs typeface="Arial" panose="020B0604020202020204" pitchFamily="34" charset="0"/>
              </a:endParaRPr>
            </a:p>
          </p:txBody>
        </p:sp>
      </p:grpSp>
      <p:grpSp>
        <p:nvGrpSpPr>
          <p:cNvPr id="72" name="Group 71">
            <a:extLst>
              <a:ext uri="{FF2B5EF4-FFF2-40B4-BE49-F238E27FC236}">
                <a16:creationId xmlns:a16="http://schemas.microsoft.com/office/drawing/2014/main" id="{408FF8EE-438E-4DD1-8CC3-A2DDBD456DF3}"/>
              </a:ext>
            </a:extLst>
          </p:cNvPr>
          <p:cNvGrpSpPr/>
          <p:nvPr/>
        </p:nvGrpSpPr>
        <p:grpSpPr>
          <a:xfrm>
            <a:off x="2907255" y="4134847"/>
            <a:ext cx="2616914" cy="951068"/>
            <a:chOff x="709573" y="5462792"/>
            <a:chExt cx="3035300" cy="1103122"/>
          </a:xfrm>
        </p:grpSpPr>
        <p:sp>
          <p:nvSpPr>
            <p:cNvPr id="12" name="Rounded Rectangle 95">
              <a:extLst>
                <a:ext uri="{FF2B5EF4-FFF2-40B4-BE49-F238E27FC236}">
                  <a16:creationId xmlns:a16="http://schemas.microsoft.com/office/drawing/2014/main" id="{4BAD7935-7820-4B17-94AB-6ACD086EA009}"/>
                </a:ext>
              </a:extLst>
            </p:cNvPr>
            <p:cNvSpPr/>
            <p:nvPr/>
          </p:nvSpPr>
          <p:spPr>
            <a:xfrm>
              <a:off x="709573" y="5462792"/>
              <a:ext cx="3035300" cy="1103122"/>
            </a:xfrm>
            <a:prstGeom prst="roundRect">
              <a:avLst>
                <a:gd name="adj" fmla="val 10323"/>
              </a:avLst>
            </a:prstGeom>
            <a:solidFill>
              <a:schemeClr val="bg1">
                <a:alpha val="1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900" i="0" u="none" strike="noStrike" kern="1200" cap="none" spc="3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D5405C07-67D1-4F18-95C6-B9A05CA71465}"/>
                </a:ext>
              </a:extLst>
            </p:cNvPr>
            <p:cNvSpPr txBox="1"/>
            <p:nvPr/>
          </p:nvSpPr>
          <p:spPr>
            <a:xfrm>
              <a:off x="883403" y="5631745"/>
              <a:ext cx="2774196" cy="777480"/>
            </a:xfrm>
            <a:prstGeom prst="rect">
              <a:avLst/>
            </a:prstGeom>
            <a:noFill/>
          </p:spPr>
          <p:txBody>
            <a:bodyPr wrap="square" lIns="0" tIns="0" rIns="0" bIns="0" anchor="t">
              <a:spAutoFit/>
            </a:bodyPr>
            <a:lstStyle>
              <a:defPPr>
                <a:defRPr lang="en-US"/>
              </a:defPPr>
              <a:lvl1pPr marR="0" lvl="0" indent="0" fontAlgn="auto">
                <a:lnSpc>
                  <a:spcPct val="8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cs typeface="Poppins SemiBold" panose="00000700000000000000" pitchFamily="2" charset="0"/>
                </a:defRPr>
              </a:lvl1pPr>
            </a:lstStyle>
            <a:p>
              <a:pPr algn="ctr"/>
              <a:r>
                <a:rPr lang="fr-FR" sz="1800" b="1" dirty="0"/>
                <a:t>Outils de gestion intelligents pour les prestataires</a:t>
              </a:r>
              <a:endParaRPr lang="en-US" sz="1800" b="1" dirty="0">
                <a:solidFill>
                  <a:schemeClr val="bg1"/>
                </a:solidFill>
                <a:cs typeface="Arial" panose="020B0604020202020204" pitchFamily="34" charset="0"/>
              </a:endParaRPr>
            </a:p>
          </p:txBody>
        </p:sp>
      </p:grpSp>
      <p:grpSp>
        <p:nvGrpSpPr>
          <p:cNvPr id="70" name="Group 69">
            <a:extLst>
              <a:ext uri="{FF2B5EF4-FFF2-40B4-BE49-F238E27FC236}">
                <a16:creationId xmlns:a16="http://schemas.microsoft.com/office/drawing/2014/main" id="{8139ABE9-7DDE-4B01-834B-CFFBC7B7AADD}"/>
              </a:ext>
            </a:extLst>
          </p:cNvPr>
          <p:cNvGrpSpPr/>
          <p:nvPr/>
        </p:nvGrpSpPr>
        <p:grpSpPr>
          <a:xfrm>
            <a:off x="179760" y="4146475"/>
            <a:ext cx="2616914" cy="951068"/>
            <a:chOff x="709573" y="2566716"/>
            <a:chExt cx="3035300" cy="1103122"/>
          </a:xfrm>
        </p:grpSpPr>
        <p:sp>
          <p:nvSpPr>
            <p:cNvPr id="15" name="Rounded Rectangle 95">
              <a:extLst>
                <a:ext uri="{FF2B5EF4-FFF2-40B4-BE49-F238E27FC236}">
                  <a16:creationId xmlns:a16="http://schemas.microsoft.com/office/drawing/2014/main" id="{64ECB9AE-E275-44BF-B8FB-78EC38E72768}"/>
                </a:ext>
              </a:extLst>
            </p:cNvPr>
            <p:cNvSpPr/>
            <p:nvPr/>
          </p:nvSpPr>
          <p:spPr>
            <a:xfrm>
              <a:off x="709573" y="2566716"/>
              <a:ext cx="3035300" cy="1103122"/>
            </a:xfrm>
            <a:prstGeom prst="roundRect">
              <a:avLst>
                <a:gd name="adj" fmla="val 10323"/>
              </a:avLst>
            </a:prstGeom>
            <a:solidFill>
              <a:schemeClr val="bg1">
                <a:alpha val="1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900" i="0" u="none" strike="noStrike" kern="1200" cap="none" spc="3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98B4FDB4-FB8F-4716-87AB-404A4C95106C}"/>
                </a:ext>
              </a:extLst>
            </p:cNvPr>
            <p:cNvSpPr txBox="1"/>
            <p:nvPr/>
          </p:nvSpPr>
          <p:spPr>
            <a:xfrm>
              <a:off x="883405" y="2773750"/>
              <a:ext cx="2774196" cy="771083"/>
            </a:xfrm>
            <a:prstGeom prst="rect">
              <a:avLst/>
            </a:prstGeom>
            <a:noFill/>
          </p:spPr>
          <p:txBody>
            <a:bodyPr wrap="square" lIns="0" tIns="0" rIns="0" bIns="0" anchor="t">
              <a:spAutoFit/>
            </a:bodyPr>
            <a:lstStyle>
              <a:defPPr>
                <a:defRPr lang="en-US"/>
              </a:defPPr>
              <a:lvl1pPr marR="0" lvl="0" indent="0" fontAlgn="auto">
                <a:lnSpc>
                  <a:spcPct val="90000"/>
                </a:lnSpc>
                <a:spcBef>
                  <a:spcPts val="0"/>
                </a:spcBef>
                <a:spcAft>
                  <a:spcPts val="0"/>
                </a:spcAft>
                <a:buClrTx/>
                <a:buSzTx/>
                <a:buFontTx/>
                <a:buNone/>
                <a:tabLst/>
                <a:defRPr kumimoji="0" sz="3000" i="0" u="none" strike="noStrike" cap="none" normalizeH="0">
                  <a:ln>
                    <a:noFill/>
                  </a:ln>
                  <a:solidFill>
                    <a:prstClr val="white"/>
                  </a:solidFill>
                  <a:effectLst/>
                  <a:uLnTx/>
                  <a:uFillTx/>
                  <a:latin typeface="Poppins SemiBold" panose="00000700000000000000" pitchFamily="2" charset="0"/>
                  <a:cs typeface="Poppins SemiBold" panose="00000700000000000000" pitchFamily="2" charset="0"/>
                </a:defRPr>
              </a:lvl1pPr>
            </a:lstStyle>
            <a:p>
              <a:pPr algn="ctr"/>
              <a:r>
                <a:rPr lang="fr-FR" sz="1600" b="1" dirty="0">
                  <a:solidFill>
                    <a:schemeClr val="bg1"/>
                  </a:solidFill>
                  <a:latin typeface="+mj-lt"/>
                  <a:cs typeface="Arial" panose="020B0604020202020204" pitchFamily="34" charset="0"/>
                </a:rPr>
                <a:t>Plateforme web/mobile intuitive, accessible à tout moment</a:t>
              </a:r>
              <a:endParaRPr lang="en-US" sz="1600" b="1" dirty="0">
                <a:solidFill>
                  <a:schemeClr val="bg1"/>
                </a:solidFill>
                <a:latin typeface="+mj-lt"/>
                <a:cs typeface="Arial" panose="020B0604020202020204" pitchFamily="34" charset="0"/>
              </a:endParaRPr>
            </a:p>
          </p:txBody>
        </p:sp>
      </p:grpSp>
      <p:sp>
        <p:nvSpPr>
          <p:cNvPr id="31" name="TextBox 30">
            <a:extLst>
              <a:ext uri="{FF2B5EF4-FFF2-40B4-BE49-F238E27FC236}">
                <a16:creationId xmlns:a16="http://schemas.microsoft.com/office/drawing/2014/main" id="{67035516-86AD-4809-9BC4-89A670E73F85}"/>
              </a:ext>
            </a:extLst>
          </p:cNvPr>
          <p:cNvSpPr txBox="1"/>
          <p:nvPr/>
        </p:nvSpPr>
        <p:spPr>
          <a:xfrm>
            <a:off x="299484" y="407551"/>
            <a:ext cx="775853"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schemeClr val="bg1"/>
                </a:solidFill>
                <a:effectLst/>
                <a:uLnTx/>
                <a:uFillTx/>
                <a:latin typeface="Darker Grotesque" pitchFamily="2" charset="0"/>
              </a:rPr>
              <a:t>Solution</a:t>
            </a:r>
          </a:p>
        </p:txBody>
      </p:sp>
      <p:sp>
        <p:nvSpPr>
          <p:cNvPr id="32" name="TextBox 31">
            <a:extLst>
              <a:ext uri="{FF2B5EF4-FFF2-40B4-BE49-F238E27FC236}">
                <a16:creationId xmlns:a16="http://schemas.microsoft.com/office/drawing/2014/main" id="{ECFEBC04-2B9E-464D-A4BF-670F4114C6DA}"/>
              </a:ext>
            </a:extLst>
          </p:cNvPr>
          <p:cNvSpPr txBox="1"/>
          <p:nvPr/>
        </p:nvSpPr>
        <p:spPr>
          <a:xfrm>
            <a:off x="1134604" y="404101"/>
            <a:ext cx="884858"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lang="en-US" kern="0" dirty="0">
                <a:solidFill>
                  <a:schemeClr val="bg1"/>
                </a:solidFill>
                <a:latin typeface="Darker Grotesque" pitchFamily="2" charset="0"/>
              </a:rPr>
              <a:t>Proposée</a:t>
            </a:r>
            <a:endParaRPr kumimoji="0" lang="en-US" b="0" i="0" u="none" strike="noStrike" kern="0" cap="none" spc="0" normalizeH="0" baseline="0" noProof="0" dirty="0">
              <a:ln>
                <a:noFill/>
              </a:ln>
              <a:solidFill>
                <a:schemeClr val="bg1"/>
              </a:solidFill>
              <a:effectLst/>
              <a:uLnTx/>
              <a:uFillTx/>
              <a:latin typeface="Darker Grotesque" pitchFamily="2" charset="0"/>
            </a:endParaRPr>
          </a:p>
        </p:txBody>
      </p:sp>
      <p:grpSp>
        <p:nvGrpSpPr>
          <p:cNvPr id="33" name="Group 32">
            <a:extLst>
              <a:ext uri="{FF2B5EF4-FFF2-40B4-BE49-F238E27FC236}">
                <a16:creationId xmlns:a16="http://schemas.microsoft.com/office/drawing/2014/main" id="{4D5EF441-A8C5-4B8A-8B3B-9788783BF5E0}"/>
              </a:ext>
            </a:extLst>
          </p:cNvPr>
          <p:cNvGrpSpPr/>
          <p:nvPr/>
        </p:nvGrpSpPr>
        <p:grpSpPr>
          <a:xfrm>
            <a:off x="299484" y="369986"/>
            <a:ext cx="11644423" cy="507586"/>
            <a:chOff x="299484" y="369986"/>
            <a:chExt cx="11644423" cy="507586"/>
          </a:xfrm>
        </p:grpSpPr>
        <p:cxnSp>
          <p:nvCxnSpPr>
            <p:cNvPr id="34" name="Straight Connector 33">
              <a:extLst>
                <a:ext uri="{FF2B5EF4-FFF2-40B4-BE49-F238E27FC236}">
                  <a16:creationId xmlns:a16="http://schemas.microsoft.com/office/drawing/2014/main" id="{C88B70C1-C530-45C7-AD00-93098D7A2F2D}"/>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43" name="Oval 42">
              <a:extLst>
                <a:ext uri="{FF2B5EF4-FFF2-40B4-BE49-F238E27FC236}">
                  <a16:creationId xmlns:a16="http://schemas.microsoft.com/office/drawing/2014/main" id="{0E6FFC8E-37CD-47B9-A3B5-52749E4FBDFE}"/>
                </a:ext>
              </a:extLst>
            </p:cNvPr>
            <p:cNvSpPr/>
            <p:nvPr/>
          </p:nvSpPr>
          <p:spPr>
            <a:xfrm>
              <a:off x="5842207" y="369986"/>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solidFill>
                  <a:schemeClr val="bg1"/>
                </a:solidFill>
                <a:latin typeface="Darker Grotesque" pitchFamily="2" charset="0"/>
              </a:endParaRPr>
            </a:p>
          </p:txBody>
        </p:sp>
      </p:grpSp>
      <p:pic>
        <p:nvPicPr>
          <p:cNvPr id="44" name="Graphic 43">
            <a:extLst>
              <a:ext uri="{FF2B5EF4-FFF2-40B4-BE49-F238E27FC236}">
                <a16:creationId xmlns:a16="http://schemas.microsoft.com/office/drawing/2014/main" id="{BFEA05EF-A70A-4D1B-B0B7-20B64D3D448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70000" y="497779"/>
            <a:ext cx="252000" cy="252000"/>
          </a:xfrm>
          <a:prstGeom prst="rect">
            <a:avLst/>
          </a:prstGeom>
        </p:spPr>
      </p:pic>
      <p:grpSp>
        <p:nvGrpSpPr>
          <p:cNvPr id="69" name="Group 68">
            <a:extLst>
              <a:ext uri="{FF2B5EF4-FFF2-40B4-BE49-F238E27FC236}">
                <a16:creationId xmlns:a16="http://schemas.microsoft.com/office/drawing/2014/main" id="{267CA399-32E1-4CEF-B53A-B85FE81B8DB5}"/>
              </a:ext>
            </a:extLst>
          </p:cNvPr>
          <p:cNvGrpSpPr/>
          <p:nvPr/>
        </p:nvGrpSpPr>
        <p:grpSpPr>
          <a:xfrm>
            <a:off x="4701702" y="1003572"/>
            <a:ext cx="6855898" cy="5696603"/>
            <a:chOff x="4706428" y="990597"/>
            <a:chExt cx="6855898" cy="5696603"/>
          </a:xfrm>
        </p:grpSpPr>
        <p:grpSp>
          <p:nvGrpSpPr>
            <p:cNvPr id="68" name="Group 67">
              <a:extLst>
                <a:ext uri="{FF2B5EF4-FFF2-40B4-BE49-F238E27FC236}">
                  <a16:creationId xmlns:a16="http://schemas.microsoft.com/office/drawing/2014/main" id="{5E3CE332-BEBD-4393-AD09-CB7981250E73}"/>
                </a:ext>
              </a:extLst>
            </p:cNvPr>
            <p:cNvGrpSpPr/>
            <p:nvPr/>
          </p:nvGrpSpPr>
          <p:grpSpPr>
            <a:xfrm>
              <a:off x="4706428" y="990597"/>
              <a:ext cx="6790996" cy="5414843"/>
              <a:chOff x="4706428" y="990597"/>
              <a:chExt cx="6790996" cy="5414843"/>
            </a:xfrm>
          </p:grpSpPr>
          <mc:AlternateContent xmlns:mc="http://schemas.openxmlformats.org/markup-compatibility/2006">
            <mc:Choice xmlns:am3d="http://schemas.microsoft.com/office/drawing/2017/model3d" Requires="am3d">
              <p:graphicFrame>
                <p:nvGraphicFramePr>
                  <p:cNvPr id="47" name="3D Model 46">
                    <a:extLst>
                      <a:ext uri="{FF2B5EF4-FFF2-40B4-BE49-F238E27FC236}">
                        <a16:creationId xmlns:a16="http://schemas.microsoft.com/office/drawing/2014/main" id="{4B437972-5C58-4F29-B15D-3F62D8FDD9F7}"/>
                      </a:ext>
                    </a:extLst>
                  </p:cNvPr>
                  <p:cNvGraphicFramePr>
                    <a:graphicFrameLocks noChangeAspect="1"/>
                  </p:cNvGraphicFramePr>
                  <p:nvPr/>
                </p:nvGraphicFramePr>
                <p:xfrm>
                  <a:off x="4706428" y="990597"/>
                  <a:ext cx="6790996" cy="5414843"/>
                </p:xfrm>
                <a:graphic>
                  <a:graphicData uri="http://schemas.microsoft.com/office/drawing/2017/model3d">
                    <am3d:model3d r:embed="rId5">
                      <am3d:spPr>
                        <a:xfrm>
                          <a:off x="0" y="0"/>
                          <a:ext cx="6790996" cy="5414843"/>
                        </a:xfrm>
                        <a:prstGeom prst="rect">
                          <a:avLst/>
                        </a:prstGeom>
                      </am3d:spPr>
                      <am3d:camera>
                        <am3d:pos x="0" y="0" z="65040800"/>
                        <am3d:up dx="0" dy="36000000" dz="0"/>
                        <am3d:lookAt x="0" y="0" z="0"/>
                        <am3d:perspective fov="2700000"/>
                      </am3d:camera>
                      <am3d:trans>
                        <am3d:meterPerModelUnit n="32894" d="1000000"/>
                        <am3d:preTrans dx="-2" dy="-12172697" dz="766013"/>
                        <am3d:scale>
                          <am3d:sx n="1000000" d="1000000"/>
                          <am3d:sy n="1000000" d="1000000"/>
                          <am3d:sz n="1000000" d="1000000"/>
                        </am3d:scale>
                        <am3d:rot ax="165873" ay="-1422376" az="-66727"/>
                        <am3d:postTrans dx="0" dy="0" dz="0"/>
                      </am3d:trans>
                      <am3d:raster rName="Office3DRenderer" rVer="16.0.8326">
                        <am3d:blip r:embed="rId6"/>
                      </am3d:raster>
                      <am3d:objViewport viewportSz="8169294"/>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7" name="3D Model 46">
                    <a:extLst>
                      <a:ext uri="{FF2B5EF4-FFF2-40B4-BE49-F238E27FC236}">
                        <a16:creationId xmlns:a16="http://schemas.microsoft.com/office/drawing/2014/main" id="{4B437972-5C58-4F29-B15D-3F62D8FDD9F7}"/>
                      </a:ext>
                    </a:extLst>
                  </p:cNvPr>
                  <p:cNvPicPr>
                    <a:picLocks noGrp="1" noRot="1" noChangeAspect="1" noMove="1" noResize="1" noEditPoints="1" noAdjustHandles="1" noChangeArrowheads="1" noChangeShapeType="1" noCrop="1"/>
                  </p:cNvPicPr>
                  <p:nvPr/>
                </p:nvPicPr>
                <p:blipFill>
                  <a:blip r:embed="rId6"/>
                  <a:stretch>
                    <a:fillRect/>
                  </a:stretch>
                </p:blipFill>
                <p:spPr>
                  <a:xfrm>
                    <a:off x="4701702" y="1003572"/>
                    <a:ext cx="6790996" cy="5414843"/>
                  </a:xfrm>
                  <a:prstGeom prst="rect">
                    <a:avLst/>
                  </a:prstGeom>
                </p:spPr>
              </p:pic>
            </mc:Fallback>
          </mc:AlternateContent>
          <p:sp>
            <p:nvSpPr>
              <p:cNvPr id="61" name="Rectangle 48">
                <a:extLst>
                  <a:ext uri="{FF2B5EF4-FFF2-40B4-BE49-F238E27FC236}">
                    <a16:creationId xmlns:a16="http://schemas.microsoft.com/office/drawing/2014/main" id="{84092D9A-2D40-4DA8-9A23-957DC57A00BB}"/>
                  </a:ext>
                </a:extLst>
              </p:cNvPr>
              <p:cNvSpPr/>
              <p:nvPr/>
            </p:nvSpPr>
            <p:spPr>
              <a:xfrm>
                <a:off x="6754107" y="2162218"/>
                <a:ext cx="4334841" cy="2841769"/>
              </a:xfrm>
              <a:custGeom>
                <a:avLst/>
                <a:gdLst>
                  <a:gd name="connsiteX0" fmla="*/ 0 w 3899003"/>
                  <a:gd name="connsiteY0" fmla="*/ 0 h 2520475"/>
                  <a:gd name="connsiteX1" fmla="*/ 3899003 w 3899003"/>
                  <a:gd name="connsiteY1" fmla="*/ 0 h 2520475"/>
                  <a:gd name="connsiteX2" fmla="*/ 3899003 w 3899003"/>
                  <a:gd name="connsiteY2" fmla="*/ 2520475 h 2520475"/>
                  <a:gd name="connsiteX3" fmla="*/ 0 w 3899003"/>
                  <a:gd name="connsiteY3" fmla="*/ 2520475 h 2520475"/>
                  <a:gd name="connsiteX4" fmla="*/ 0 w 3899003"/>
                  <a:gd name="connsiteY4" fmla="*/ 0 h 2520475"/>
                  <a:gd name="connsiteX0" fmla="*/ 0 w 3918053"/>
                  <a:gd name="connsiteY0" fmla="*/ 104775 h 2625250"/>
                  <a:gd name="connsiteX1" fmla="*/ 3918053 w 3918053"/>
                  <a:gd name="connsiteY1" fmla="*/ 0 h 2625250"/>
                  <a:gd name="connsiteX2" fmla="*/ 3899003 w 3918053"/>
                  <a:gd name="connsiteY2" fmla="*/ 2625250 h 2625250"/>
                  <a:gd name="connsiteX3" fmla="*/ 0 w 3918053"/>
                  <a:gd name="connsiteY3" fmla="*/ 2625250 h 2625250"/>
                  <a:gd name="connsiteX4" fmla="*/ 0 w 3918053"/>
                  <a:gd name="connsiteY4" fmla="*/ 104775 h 2625250"/>
                  <a:gd name="connsiteX0" fmla="*/ 66675 w 3918053"/>
                  <a:gd name="connsiteY0" fmla="*/ 142875 h 2625250"/>
                  <a:gd name="connsiteX1" fmla="*/ 3918053 w 3918053"/>
                  <a:gd name="connsiteY1" fmla="*/ 0 h 2625250"/>
                  <a:gd name="connsiteX2" fmla="*/ 3899003 w 3918053"/>
                  <a:gd name="connsiteY2" fmla="*/ 2625250 h 2625250"/>
                  <a:gd name="connsiteX3" fmla="*/ 0 w 3918053"/>
                  <a:gd name="connsiteY3" fmla="*/ 2625250 h 2625250"/>
                  <a:gd name="connsiteX4" fmla="*/ 66675 w 3918053"/>
                  <a:gd name="connsiteY4" fmla="*/ 142875 h 2625250"/>
                  <a:gd name="connsiteX0" fmla="*/ 0 w 3918053"/>
                  <a:gd name="connsiteY0" fmla="*/ 142875 h 2625250"/>
                  <a:gd name="connsiteX1" fmla="*/ 3918053 w 3918053"/>
                  <a:gd name="connsiteY1" fmla="*/ 0 h 2625250"/>
                  <a:gd name="connsiteX2" fmla="*/ 3899003 w 3918053"/>
                  <a:gd name="connsiteY2" fmla="*/ 2625250 h 2625250"/>
                  <a:gd name="connsiteX3" fmla="*/ 0 w 3918053"/>
                  <a:gd name="connsiteY3" fmla="*/ 2625250 h 2625250"/>
                  <a:gd name="connsiteX4" fmla="*/ 0 w 3918053"/>
                  <a:gd name="connsiteY4" fmla="*/ 142875 h 2625250"/>
                  <a:gd name="connsiteX0" fmla="*/ 0 w 3918053"/>
                  <a:gd name="connsiteY0" fmla="*/ 238125 h 2625250"/>
                  <a:gd name="connsiteX1" fmla="*/ 3918053 w 3918053"/>
                  <a:gd name="connsiteY1" fmla="*/ 0 h 2625250"/>
                  <a:gd name="connsiteX2" fmla="*/ 3899003 w 3918053"/>
                  <a:gd name="connsiteY2" fmla="*/ 2625250 h 2625250"/>
                  <a:gd name="connsiteX3" fmla="*/ 0 w 3918053"/>
                  <a:gd name="connsiteY3" fmla="*/ 2625250 h 2625250"/>
                  <a:gd name="connsiteX4" fmla="*/ 0 w 3918053"/>
                  <a:gd name="connsiteY4" fmla="*/ 238125 h 2625250"/>
                  <a:gd name="connsiteX0" fmla="*/ 0 w 3918053"/>
                  <a:gd name="connsiteY0" fmla="*/ 161925 h 2625250"/>
                  <a:gd name="connsiteX1" fmla="*/ 3918053 w 3918053"/>
                  <a:gd name="connsiteY1" fmla="*/ 0 h 2625250"/>
                  <a:gd name="connsiteX2" fmla="*/ 3899003 w 3918053"/>
                  <a:gd name="connsiteY2" fmla="*/ 2625250 h 2625250"/>
                  <a:gd name="connsiteX3" fmla="*/ 0 w 3918053"/>
                  <a:gd name="connsiteY3" fmla="*/ 2625250 h 2625250"/>
                  <a:gd name="connsiteX4" fmla="*/ 0 w 3918053"/>
                  <a:gd name="connsiteY4" fmla="*/ 161925 h 2625250"/>
                  <a:gd name="connsiteX0" fmla="*/ 0 w 3918053"/>
                  <a:gd name="connsiteY0" fmla="*/ 161925 h 2625250"/>
                  <a:gd name="connsiteX1" fmla="*/ 3918053 w 3918053"/>
                  <a:gd name="connsiteY1" fmla="*/ 0 h 2625250"/>
                  <a:gd name="connsiteX2" fmla="*/ 3899003 w 3918053"/>
                  <a:gd name="connsiteY2" fmla="*/ 2625250 h 2625250"/>
                  <a:gd name="connsiteX3" fmla="*/ 228600 w 3918053"/>
                  <a:gd name="connsiteY3" fmla="*/ 2453800 h 2625250"/>
                  <a:gd name="connsiteX4" fmla="*/ 0 w 3918053"/>
                  <a:gd name="connsiteY4" fmla="*/ 161925 h 2625250"/>
                  <a:gd name="connsiteX0" fmla="*/ 0 w 3918053"/>
                  <a:gd name="connsiteY0" fmla="*/ 161925 h 2625250"/>
                  <a:gd name="connsiteX1" fmla="*/ 3918053 w 3918053"/>
                  <a:gd name="connsiteY1" fmla="*/ 0 h 2625250"/>
                  <a:gd name="connsiteX2" fmla="*/ 3899003 w 3918053"/>
                  <a:gd name="connsiteY2" fmla="*/ 2625250 h 2625250"/>
                  <a:gd name="connsiteX3" fmla="*/ 19050 w 3918053"/>
                  <a:gd name="connsiteY3" fmla="*/ 2339500 h 2625250"/>
                  <a:gd name="connsiteX4" fmla="*/ 0 w 3918053"/>
                  <a:gd name="connsiteY4" fmla="*/ 161925 h 2625250"/>
                  <a:gd name="connsiteX0" fmla="*/ 0 w 3918053"/>
                  <a:gd name="connsiteY0" fmla="*/ 161925 h 2339500"/>
                  <a:gd name="connsiteX1" fmla="*/ 3918053 w 3918053"/>
                  <a:gd name="connsiteY1" fmla="*/ 0 h 2339500"/>
                  <a:gd name="connsiteX2" fmla="*/ 3641828 w 3918053"/>
                  <a:gd name="connsiteY2" fmla="*/ 2234725 h 2339500"/>
                  <a:gd name="connsiteX3" fmla="*/ 19050 w 3918053"/>
                  <a:gd name="connsiteY3" fmla="*/ 2339500 h 2339500"/>
                  <a:gd name="connsiteX4" fmla="*/ 0 w 3918053"/>
                  <a:gd name="connsiteY4" fmla="*/ 161925 h 2339500"/>
                  <a:gd name="connsiteX0" fmla="*/ 0 w 3918053"/>
                  <a:gd name="connsiteY0" fmla="*/ 161925 h 2615725"/>
                  <a:gd name="connsiteX1" fmla="*/ 3918053 w 3918053"/>
                  <a:gd name="connsiteY1" fmla="*/ 0 h 2615725"/>
                  <a:gd name="connsiteX2" fmla="*/ 3889478 w 3918053"/>
                  <a:gd name="connsiteY2" fmla="*/ 2615725 h 2615725"/>
                  <a:gd name="connsiteX3" fmla="*/ 19050 w 3918053"/>
                  <a:gd name="connsiteY3" fmla="*/ 2339500 h 2615725"/>
                  <a:gd name="connsiteX4" fmla="*/ 0 w 3918053"/>
                  <a:gd name="connsiteY4" fmla="*/ 161925 h 2615725"/>
                  <a:gd name="connsiteX0" fmla="*/ 0 w 3918053"/>
                  <a:gd name="connsiteY0" fmla="*/ 161925 h 2615725"/>
                  <a:gd name="connsiteX1" fmla="*/ 3918053 w 3918053"/>
                  <a:gd name="connsiteY1" fmla="*/ 0 h 2615725"/>
                  <a:gd name="connsiteX2" fmla="*/ 3889478 w 3918053"/>
                  <a:gd name="connsiteY2" fmla="*/ 2615725 h 2615725"/>
                  <a:gd name="connsiteX3" fmla="*/ 19050 w 3918053"/>
                  <a:gd name="connsiteY3" fmla="*/ 2339500 h 2615725"/>
                  <a:gd name="connsiteX4" fmla="*/ 0 w 3918053"/>
                  <a:gd name="connsiteY4" fmla="*/ 161925 h 2615725"/>
                  <a:gd name="connsiteX0" fmla="*/ 0 w 3918053"/>
                  <a:gd name="connsiteY0" fmla="*/ 140571 h 2615725"/>
                  <a:gd name="connsiteX1" fmla="*/ 3918053 w 3918053"/>
                  <a:gd name="connsiteY1" fmla="*/ 0 h 2615725"/>
                  <a:gd name="connsiteX2" fmla="*/ 3889478 w 3918053"/>
                  <a:gd name="connsiteY2" fmla="*/ 2615725 h 2615725"/>
                  <a:gd name="connsiteX3" fmla="*/ 19050 w 3918053"/>
                  <a:gd name="connsiteY3" fmla="*/ 2339500 h 2615725"/>
                  <a:gd name="connsiteX4" fmla="*/ 0 w 3918053"/>
                  <a:gd name="connsiteY4" fmla="*/ 140571 h 2615725"/>
                  <a:gd name="connsiteX0" fmla="*/ 0 w 3922372"/>
                  <a:gd name="connsiteY0" fmla="*/ 183279 h 2615725"/>
                  <a:gd name="connsiteX1" fmla="*/ 3922372 w 3922372"/>
                  <a:gd name="connsiteY1" fmla="*/ 0 h 2615725"/>
                  <a:gd name="connsiteX2" fmla="*/ 3893797 w 3922372"/>
                  <a:gd name="connsiteY2" fmla="*/ 2615725 h 2615725"/>
                  <a:gd name="connsiteX3" fmla="*/ 23369 w 3922372"/>
                  <a:gd name="connsiteY3" fmla="*/ 2339500 h 2615725"/>
                  <a:gd name="connsiteX4" fmla="*/ 0 w 3922372"/>
                  <a:gd name="connsiteY4" fmla="*/ 183279 h 2615725"/>
                  <a:gd name="connsiteX0" fmla="*/ 0 w 3918053"/>
                  <a:gd name="connsiteY0" fmla="*/ 191821 h 2615725"/>
                  <a:gd name="connsiteX1" fmla="*/ 3918053 w 3918053"/>
                  <a:gd name="connsiteY1" fmla="*/ 0 h 2615725"/>
                  <a:gd name="connsiteX2" fmla="*/ 3889478 w 3918053"/>
                  <a:gd name="connsiteY2" fmla="*/ 2615725 h 2615725"/>
                  <a:gd name="connsiteX3" fmla="*/ 19050 w 3918053"/>
                  <a:gd name="connsiteY3" fmla="*/ 2339500 h 2615725"/>
                  <a:gd name="connsiteX4" fmla="*/ 0 w 3918053"/>
                  <a:gd name="connsiteY4" fmla="*/ 191821 h 2615725"/>
                  <a:gd name="connsiteX0" fmla="*/ 0 w 3909416"/>
                  <a:gd name="connsiteY0" fmla="*/ 157654 h 2581558"/>
                  <a:gd name="connsiteX1" fmla="*/ 3909416 w 3909416"/>
                  <a:gd name="connsiteY1" fmla="*/ 0 h 2581558"/>
                  <a:gd name="connsiteX2" fmla="*/ 3889478 w 3909416"/>
                  <a:gd name="connsiteY2" fmla="*/ 2581558 h 2581558"/>
                  <a:gd name="connsiteX3" fmla="*/ 19050 w 3909416"/>
                  <a:gd name="connsiteY3" fmla="*/ 2305333 h 2581558"/>
                  <a:gd name="connsiteX4" fmla="*/ 0 w 3909416"/>
                  <a:gd name="connsiteY4" fmla="*/ 157654 h 2581558"/>
                  <a:gd name="connsiteX0" fmla="*/ 0 w 3909416"/>
                  <a:gd name="connsiteY0" fmla="*/ 157654 h 2581558"/>
                  <a:gd name="connsiteX1" fmla="*/ 3909416 w 3909416"/>
                  <a:gd name="connsiteY1" fmla="*/ 0 h 2581558"/>
                  <a:gd name="connsiteX2" fmla="*/ 3889478 w 3909416"/>
                  <a:gd name="connsiteY2" fmla="*/ 2581558 h 2581558"/>
                  <a:gd name="connsiteX3" fmla="*/ 19050 w 3909416"/>
                  <a:gd name="connsiteY3" fmla="*/ 2305333 h 2581558"/>
                  <a:gd name="connsiteX4" fmla="*/ 0 w 3909416"/>
                  <a:gd name="connsiteY4" fmla="*/ 157654 h 2581558"/>
                  <a:gd name="connsiteX0" fmla="*/ 0 w 3909416"/>
                  <a:gd name="connsiteY0" fmla="*/ 157654 h 2517495"/>
                  <a:gd name="connsiteX1" fmla="*/ 3909416 w 3909416"/>
                  <a:gd name="connsiteY1" fmla="*/ 0 h 2517495"/>
                  <a:gd name="connsiteX2" fmla="*/ 3872204 w 3909416"/>
                  <a:gd name="connsiteY2" fmla="*/ 2517495 h 2517495"/>
                  <a:gd name="connsiteX3" fmla="*/ 19050 w 3909416"/>
                  <a:gd name="connsiteY3" fmla="*/ 2305333 h 2517495"/>
                  <a:gd name="connsiteX4" fmla="*/ 0 w 3909416"/>
                  <a:gd name="connsiteY4" fmla="*/ 157654 h 2517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9416" h="2517495">
                    <a:moveTo>
                      <a:pt x="0" y="157654"/>
                    </a:moveTo>
                    <a:lnTo>
                      <a:pt x="3909416" y="0"/>
                    </a:lnTo>
                    <a:lnTo>
                      <a:pt x="3872204" y="2517495"/>
                    </a:lnTo>
                    <a:lnTo>
                      <a:pt x="19050" y="2305333"/>
                    </a:lnTo>
                    <a:lnTo>
                      <a:pt x="0" y="157654"/>
                    </a:lnTo>
                    <a:close/>
                  </a:path>
                </a:pathLst>
              </a:custGeom>
              <a:blipFill dpi="0" rotWithShape="1">
                <a:blip r:embed="rId7"/>
                <a:srcRect/>
                <a:stretch>
                  <a:fillRect/>
                </a:stretch>
              </a:blipFill>
              <a:ln>
                <a:solidFill>
                  <a:schemeClr val="bg1"/>
                </a:solidFill>
              </a:ln>
              <a:scene3d>
                <a:camera prst="orthographicFront">
                  <a:rot lat="21299999" lon="21599992"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TN" dirty="0">
                  <a:solidFill>
                    <a:schemeClr val="bg1"/>
                  </a:solidFill>
                </a:endParaRPr>
              </a:p>
            </p:txBody>
          </p:sp>
        </p:grpSp>
        <p:grpSp>
          <p:nvGrpSpPr>
            <p:cNvPr id="67" name="Group 66">
              <a:extLst>
                <a:ext uri="{FF2B5EF4-FFF2-40B4-BE49-F238E27FC236}">
                  <a16:creationId xmlns:a16="http://schemas.microsoft.com/office/drawing/2014/main" id="{1E8741EB-CCA5-493E-9E84-FF823C8C59C5}"/>
                </a:ext>
              </a:extLst>
            </p:cNvPr>
            <p:cNvGrpSpPr/>
            <p:nvPr/>
          </p:nvGrpSpPr>
          <p:grpSpPr>
            <a:xfrm>
              <a:off x="9381532" y="1687561"/>
              <a:ext cx="2180794" cy="4999639"/>
              <a:chOff x="9381532" y="1687561"/>
              <a:chExt cx="2180794" cy="4999639"/>
            </a:xfrm>
          </p:grpSpPr>
          <mc:AlternateContent xmlns:mc="http://schemas.openxmlformats.org/markup-compatibility/2006">
            <mc:Choice xmlns:am3d="http://schemas.microsoft.com/office/drawing/2017/model3d" Requires="am3d">
              <p:graphicFrame>
                <p:nvGraphicFramePr>
                  <p:cNvPr id="48" name="3D Model 47">
                    <a:extLst>
                      <a:ext uri="{FF2B5EF4-FFF2-40B4-BE49-F238E27FC236}">
                        <a16:creationId xmlns:a16="http://schemas.microsoft.com/office/drawing/2014/main" id="{5A584012-A571-4FCD-AB7F-AA8DF370B5DA}"/>
                      </a:ext>
                    </a:extLst>
                  </p:cNvPr>
                  <p:cNvGraphicFramePr>
                    <a:graphicFrameLocks noChangeAspect="1"/>
                  </p:cNvGraphicFramePr>
                  <p:nvPr/>
                </p:nvGraphicFramePr>
                <p:xfrm rot="1245118">
                  <a:off x="9381532" y="1687561"/>
                  <a:ext cx="2180794" cy="4999639"/>
                </p:xfrm>
                <a:graphic>
                  <a:graphicData uri="http://schemas.microsoft.com/office/drawing/2017/model3d">
                    <am3d:model3d r:embed="rId8">
                      <am3d:spPr>
                        <a:xfrm rot="1245118">
                          <a:off x="0" y="0"/>
                          <a:ext cx="2180794" cy="4999639"/>
                        </a:xfrm>
                        <a:prstGeom prst="rect">
                          <a:avLst/>
                        </a:prstGeom>
                        <a:noFill/>
                      </am3d:spPr>
                      <am3d:camera>
                        <am3d:pos x="0" y="0" z="52082400"/>
                        <am3d:up dx="0" dy="36000000" dz="0"/>
                        <am3d:lookAt x="0" y="0" z="0"/>
                        <am3d:perspective fov="2700000"/>
                      </am3d:camera>
                      <am3d:trans>
                        <am3d:meterPerModelUnit n="6717969" d="1000000"/>
                        <am3d:preTrans dx="117974" dy="-17966517" dz="23721"/>
                        <am3d:scale>
                          <am3d:sx n="1000000" d="1000000"/>
                          <am3d:sy n="1000000" d="1000000"/>
                          <am3d:sz n="1000000" d="1000000"/>
                        </am3d:scale>
                        <am3d:rot ax="-9539527" ay="-3384072" az="9735752"/>
                        <am3d:postTrans dx="0" dy="0" dz="0"/>
                      </am3d:trans>
                      <am3d:raster rName="Office3DRenderer" rVer="16.0.8326">
                        <am3d:blip r:embed="rId9"/>
                      </am3d:raster>
                      <am3d:objViewport viewportSz="5418654"/>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8" name="3D Model 47">
                    <a:extLst>
                      <a:ext uri="{FF2B5EF4-FFF2-40B4-BE49-F238E27FC236}">
                        <a16:creationId xmlns:a16="http://schemas.microsoft.com/office/drawing/2014/main" id="{5A584012-A571-4FCD-AB7F-AA8DF370B5DA}"/>
                      </a:ext>
                    </a:extLst>
                  </p:cNvPr>
                  <p:cNvPicPr>
                    <a:picLocks noGrp="1" noRot="1" noChangeAspect="1" noMove="1" noResize="1" noEditPoints="1" noAdjustHandles="1" noChangeArrowheads="1" noChangeShapeType="1" noCrop="1"/>
                  </p:cNvPicPr>
                  <p:nvPr/>
                </p:nvPicPr>
                <p:blipFill>
                  <a:blip r:embed="rId9"/>
                  <a:stretch>
                    <a:fillRect/>
                  </a:stretch>
                </p:blipFill>
                <p:spPr>
                  <a:xfrm rot="1245118">
                    <a:off x="9376806" y="1700536"/>
                    <a:ext cx="2180794" cy="4999639"/>
                  </a:xfrm>
                  <a:prstGeom prst="rect">
                    <a:avLst/>
                  </a:prstGeom>
                  <a:noFill/>
                </p:spPr>
              </p:pic>
            </mc:Fallback>
          </mc:AlternateContent>
          <p:grpSp>
            <p:nvGrpSpPr>
              <p:cNvPr id="66" name="Group 65">
                <a:extLst>
                  <a:ext uri="{FF2B5EF4-FFF2-40B4-BE49-F238E27FC236}">
                    <a16:creationId xmlns:a16="http://schemas.microsoft.com/office/drawing/2014/main" id="{2D1612C0-9B70-48A2-A556-84C5740AF279}"/>
                  </a:ext>
                </a:extLst>
              </p:cNvPr>
              <p:cNvGrpSpPr/>
              <p:nvPr/>
            </p:nvGrpSpPr>
            <p:grpSpPr>
              <a:xfrm>
                <a:off x="9426531" y="1919552"/>
                <a:ext cx="2094046" cy="4487689"/>
                <a:chOff x="9426531" y="1919552"/>
                <a:chExt cx="2094046" cy="4487689"/>
              </a:xfrm>
            </p:grpSpPr>
            <p:sp>
              <p:nvSpPr>
                <p:cNvPr id="63" name="Rectangle: Rounded Corners 62">
                  <a:extLst>
                    <a:ext uri="{FF2B5EF4-FFF2-40B4-BE49-F238E27FC236}">
                      <a16:creationId xmlns:a16="http://schemas.microsoft.com/office/drawing/2014/main" id="{F133C945-38C9-4B57-AC0A-9D033FEB6C50}"/>
                    </a:ext>
                  </a:extLst>
                </p:cNvPr>
                <p:cNvSpPr/>
                <p:nvPr/>
              </p:nvSpPr>
              <p:spPr>
                <a:xfrm rot="1502193">
                  <a:off x="9576705" y="1919552"/>
                  <a:ext cx="1943872" cy="4487689"/>
                </a:xfrm>
                <a:custGeom>
                  <a:avLst/>
                  <a:gdLst>
                    <a:gd name="connsiteX0" fmla="*/ 0 w 1975615"/>
                    <a:gd name="connsiteY0" fmla="*/ 329276 h 4316962"/>
                    <a:gd name="connsiteX1" fmla="*/ 329276 w 1975615"/>
                    <a:gd name="connsiteY1" fmla="*/ 0 h 4316962"/>
                    <a:gd name="connsiteX2" fmla="*/ 1646339 w 1975615"/>
                    <a:gd name="connsiteY2" fmla="*/ 0 h 4316962"/>
                    <a:gd name="connsiteX3" fmla="*/ 1975615 w 1975615"/>
                    <a:gd name="connsiteY3" fmla="*/ 329276 h 4316962"/>
                    <a:gd name="connsiteX4" fmla="*/ 1975615 w 1975615"/>
                    <a:gd name="connsiteY4" fmla="*/ 3987686 h 4316962"/>
                    <a:gd name="connsiteX5" fmla="*/ 1646339 w 1975615"/>
                    <a:gd name="connsiteY5" fmla="*/ 4316962 h 4316962"/>
                    <a:gd name="connsiteX6" fmla="*/ 329276 w 1975615"/>
                    <a:gd name="connsiteY6" fmla="*/ 4316962 h 4316962"/>
                    <a:gd name="connsiteX7" fmla="*/ 0 w 1975615"/>
                    <a:gd name="connsiteY7" fmla="*/ 3987686 h 4316962"/>
                    <a:gd name="connsiteX8" fmla="*/ 0 w 1975615"/>
                    <a:gd name="connsiteY8" fmla="*/ 329276 h 4316962"/>
                    <a:gd name="connsiteX0" fmla="*/ 0 w 1975615"/>
                    <a:gd name="connsiteY0" fmla="*/ 329276 h 4318098"/>
                    <a:gd name="connsiteX1" fmla="*/ 329276 w 1975615"/>
                    <a:gd name="connsiteY1" fmla="*/ 0 h 4318098"/>
                    <a:gd name="connsiteX2" fmla="*/ 1646339 w 1975615"/>
                    <a:gd name="connsiteY2" fmla="*/ 0 h 4318098"/>
                    <a:gd name="connsiteX3" fmla="*/ 1975615 w 1975615"/>
                    <a:gd name="connsiteY3" fmla="*/ 329276 h 4318098"/>
                    <a:gd name="connsiteX4" fmla="*/ 1975615 w 1975615"/>
                    <a:gd name="connsiteY4" fmla="*/ 3987686 h 4318098"/>
                    <a:gd name="connsiteX5" fmla="*/ 1688921 w 1975615"/>
                    <a:gd name="connsiteY5" fmla="*/ 4318098 h 4318098"/>
                    <a:gd name="connsiteX6" fmla="*/ 329276 w 1975615"/>
                    <a:gd name="connsiteY6" fmla="*/ 4316962 h 4318098"/>
                    <a:gd name="connsiteX7" fmla="*/ 0 w 1975615"/>
                    <a:gd name="connsiteY7" fmla="*/ 3987686 h 4318098"/>
                    <a:gd name="connsiteX8" fmla="*/ 0 w 1975615"/>
                    <a:gd name="connsiteY8" fmla="*/ 329276 h 4318098"/>
                    <a:gd name="connsiteX0" fmla="*/ 0 w 1975615"/>
                    <a:gd name="connsiteY0" fmla="*/ 329276 h 4318098"/>
                    <a:gd name="connsiteX1" fmla="*/ 329276 w 1975615"/>
                    <a:gd name="connsiteY1" fmla="*/ 0 h 4318098"/>
                    <a:gd name="connsiteX2" fmla="*/ 1646339 w 1975615"/>
                    <a:gd name="connsiteY2" fmla="*/ 0 h 4318098"/>
                    <a:gd name="connsiteX3" fmla="*/ 1975615 w 1975615"/>
                    <a:gd name="connsiteY3" fmla="*/ 329276 h 4318098"/>
                    <a:gd name="connsiteX4" fmla="*/ 1975615 w 1975615"/>
                    <a:gd name="connsiteY4" fmla="*/ 3987686 h 4318098"/>
                    <a:gd name="connsiteX5" fmla="*/ 1688921 w 1975615"/>
                    <a:gd name="connsiteY5" fmla="*/ 4318098 h 4318098"/>
                    <a:gd name="connsiteX6" fmla="*/ 329276 w 1975615"/>
                    <a:gd name="connsiteY6" fmla="*/ 4316962 h 4318098"/>
                    <a:gd name="connsiteX7" fmla="*/ 0 w 1975615"/>
                    <a:gd name="connsiteY7" fmla="*/ 3987686 h 4318098"/>
                    <a:gd name="connsiteX8" fmla="*/ 0 w 1975615"/>
                    <a:gd name="connsiteY8" fmla="*/ 329276 h 4318098"/>
                    <a:gd name="connsiteX0" fmla="*/ 0 w 1975615"/>
                    <a:gd name="connsiteY0" fmla="*/ 329276 h 4318098"/>
                    <a:gd name="connsiteX1" fmla="*/ 329276 w 1975615"/>
                    <a:gd name="connsiteY1" fmla="*/ 0 h 4318098"/>
                    <a:gd name="connsiteX2" fmla="*/ 1646339 w 1975615"/>
                    <a:gd name="connsiteY2" fmla="*/ 0 h 4318098"/>
                    <a:gd name="connsiteX3" fmla="*/ 1975615 w 1975615"/>
                    <a:gd name="connsiteY3" fmla="*/ 329276 h 4318098"/>
                    <a:gd name="connsiteX4" fmla="*/ 1887006 w 1975615"/>
                    <a:gd name="connsiteY4" fmla="*/ 4008048 h 4318098"/>
                    <a:gd name="connsiteX5" fmla="*/ 1688921 w 1975615"/>
                    <a:gd name="connsiteY5" fmla="*/ 4318098 h 4318098"/>
                    <a:gd name="connsiteX6" fmla="*/ 329276 w 1975615"/>
                    <a:gd name="connsiteY6" fmla="*/ 4316962 h 4318098"/>
                    <a:gd name="connsiteX7" fmla="*/ 0 w 1975615"/>
                    <a:gd name="connsiteY7" fmla="*/ 3987686 h 4318098"/>
                    <a:gd name="connsiteX8" fmla="*/ 0 w 1975615"/>
                    <a:gd name="connsiteY8" fmla="*/ 329276 h 4318098"/>
                    <a:gd name="connsiteX0" fmla="*/ 0 w 1975615"/>
                    <a:gd name="connsiteY0" fmla="*/ 329276 h 4318098"/>
                    <a:gd name="connsiteX1" fmla="*/ 329276 w 1975615"/>
                    <a:gd name="connsiteY1" fmla="*/ 0 h 4318098"/>
                    <a:gd name="connsiteX2" fmla="*/ 1646339 w 1975615"/>
                    <a:gd name="connsiteY2" fmla="*/ 0 h 4318098"/>
                    <a:gd name="connsiteX3" fmla="*/ 1975615 w 1975615"/>
                    <a:gd name="connsiteY3" fmla="*/ 329276 h 4318098"/>
                    <a:gd name="connsiteX4" fmla="*/ 1887006 w 1975615"/>
                    <a:gd name="connsiteY4" fmla="*/ 4008048 h 4318098"/>
                    <a:gd name="connsiteX5" fmla="*/ 1688921 w 1975615"/>
                    <a:gd name="connsiteY5" fmla="*/ 4318098 h 4318098"/>
                    <a:gd name="connsiteX6" fmla="*/ 329276 w 1975615"/>
                    <a:gd name="connsiteY6" fmla="*/ 4316962 h 4318098"/>
                    <a:gd name="connsiteX7" fmla="*/ 0 w 1975615"/>
                    <a:gd name="connsiteY7" fmla="*/ 3987686 h 4318098"/>
                    <a:gd name="connsiteX8" fmla="*/ 0 w 1975615"/>
                    <a:gd name="connsiteY8" fmla="*/ 329276 h 4318098"/>
                    <a:gd name="connsiteX0" fmla="*/ 0 w 1975615"/>
                    <a:gd name="connsiteY0" fmla="*/ 447228 h 4436050"/>
                    <a:gd name="connsiteX1" fmla="*/ 329276 w 1975615"/>
                    <a:gd name="connsiteY1" fmla="*/ 117952 h 4436050"/>
                    <a:gd name="connsiteX2" fmla="*/ 1058597 w 1975615"/>
                    <a:gd name="connsiteY2" fmla="*/ 0 h 4436050"/>
                    <a:gd name="connsiteX3" fmla="*/ 1975615 w 1975615"/>
                    <a:gd name="connsiteY3" fmla="*/ 447228 h 4436050"/>
                    <a:gd name="connsiteX4" fmla="*/ 1887006 w 1975615"/>
                    <a:gd name="connsiteY4" fmla="*/ 4126000 h 4436050"/>
                    <a:gd name="connsiteX5" fmla="*/ 1688921 w 1975615"/>
                    <a:gd name="connsiteY5" fmla="*/ 4436050 h 4436050"/>
                    <a:gd name="connsiteX6" fmla="*/ 329276 w 1975615"/>
                    <a:gd name="connsiteY6" fmla="*/ 4434914 h 4436050"/>
                    <a:gd name="connsiteX7" fmla="*/ 0 w 1975615"/>
                    <a:gd name="connsiteY7" fmla="*/ 4105638 h 4436050"/>
                    <a:gd name="connsiteX8" fmla="*/ 0 w 1975615"/>
                    <a:gd name="connsiteY8" fmla="*/ 447228 h 4436050"/>
                    <a:gd name="connsiteX0" fmla="*/ 0 w 1887006"/>
                    <a:gd name="connsiteY0" fmla="*/ 463430 h 4452252"/>
                    <a:gd name="connsiteX1" fmla="*/ 329276 w 1887006"/>
                    <a:gd name="connsiteY1" fmla="*/ 134154 h 4452252"/>
                    <a:gd name="connsiteX2" fmla="*/ 1058597 w 1887006"/>
                    <a:gd name="connsiteY2" fmla="*/ 16202 h 4452252"/>
                    <a:gd name="connsiteX3" fmla="*/ 1493291 w 1887006"/>
                    <a:gd name="connsiteY3" fmla="*/ 121025 h 4452252"/>
                    <a:gd name="connsiteX4" fmla="*/ 1887006 w 1887006"/>
                    <a:gd name="connsiteY4" fmla="*/ 4142202 h 4452252"/>
                    <a:gd name="connsiteX5" fmla="*/ 1688921 w 1887006"/>
                    <a:gd name="connsiteY5" fmla="*/ 4452252 h 4452252"/>
                    <a:gd name="connsiteX6" fmla="*/ 329276 w 1887006"/>
                    <a:gd name="connsiteY6" fmla="*/ 4451116 h 4452252"/>
                    <a:gd name="connsiteX7" fmla="*/ 0 w 1887006"/>
                    <a:gd name="connsiteY7" fmla="*/ 4121840 h 4452252"/>
                    <a:gd name="connsiteX8" fmla="*/ 0 w 1887006"/>
                    <a:gd name="connsiteY8" fmla="*/ 463430 h 4452252"/>
                    <a:gd name="connsiteX0" fmla="*/ 0 w 1887006"/>
                    <a:gd name="connsiteY0" fmla="*/ 463430 h 4452252"/>
                    <a:gd name="connsiteX1" fmla="*/ 329276 w 1887006"/>
                    <a:gd name="connsiteY1" fmla="*/ 134154 h 4452252"/>
                    <a:gd name="connsiteX2" fmla="*/ 1058597 w 1887006"/>
                    <a:gd name="connsiteY2" fmla="*/ 16202 h 4452252"/>
                    <a:gd name="connsiteX3" fmla="*/ 1493291 w 1887006"/>
                    <a:gd name="connsiteY3" fmla="*/ 121025 h 4452252"/>
                    <a:gd name="connsiteX4" fmla="*/ 1887006 w 1887006"/>
                    <a:gd name="connsiteY4" fmla="*/ 4142202 h 4452252"/>
                    <a:gd name="connsiteX5" fmla="*/ 1688921 w 1887006"/>
                    <a:gd name="connsiteY5" fmla="*/ 4452252 h 4452252"/>
                    <a:gd name="connsiteX6" fmla="*/ 329276 w 1887006"/>
                    <a:gd name="connsiteY6" fmla="*/ 4451116 h 4452252"/>
                    <a:gd name="connsiteX7" fmla="*/ 0 w 1887006"/>
                    <a:gd name="connsiteY7" fmla="*/ 4121840 h 4452252"/>
                    <a:gd name="connsiteX8" fmla="*/ 0 w 1887006"/>
                    <a:gd name="connsiteY8" fmla="*/ 463430 h 4452252"/>
                    <a:gd name="connsiteX0" fmla="*/ 0 w 1887006"/>
                    <a:gd name="connsiteY0" fmla="*/ 463430 h 4452252"/>
                    <a:gd name="connsiteX1" fmla="*/ 329276 w 1887006"/>
                    <a:gd name="connsiteY1" fmla="*/ 134154 h 4452252"/>
                    <a:gd name="connsiteX2" fmla="*/ 1058597 w 1887006"/>
                    <a:gd name="connsiteY2" fmla="*/ 16202 h 4452252"/>
                    <a:gd name="connsiteX3" fmla="*/ 1493291 w 1887006"/>
                    <a:gd name="connsiteY3" fmla="*/ 121025 h 4452252"/>
                    <a:gd name="connsiteX4" fmla="*/ 1887006 w 1887006"/>
                    <a:gd name="connsiteY4" fmla="*/ 4142202 h 4452252"/>
                    <a:gd name="connsiteX5" fmla="*/ 1688921 w 1887006"/>
                    <a:gd name="connsiteY5" fmla="*/ 4452252 h 4452252"/>
                    <a:gd name="connsiteX6" fmla="*/ 329276 w 1887006"/>
                    <a:gd name="connsiteY6" fmla="*/ 4451116 h 4452252"/>
                    <a:gd name="connsiteX7" fmla="*/ 0 w 1887006"/>
                    <a:gd name="connsiteY7" fmla="*/ 4121840 h 4452252"/>
                    <a:gd name="connsiteX8" fmla="*/ 0 w 1887006"/>
                    <a:gd name="connsiteY8" fmla="*/ 463430 h 4452252"/>
                    <a:gd name="connsiteX0" fmla="*/ 0 w 1887006"/>
                    <a:gd name="connsiteY0" fmla="*/ 512200 h 4501022"/>
                    <a:gd name="connsiteX1" fmla="*/ 329276 w 1887006"/>
                    <a:gd name="connsiteY1" fmla="*/ 182924 h 4501022"/>
                    <a:gd name="connsiteX2" fmla="*/ 1058597 w 1887006"/>
                    <a:gd name="connsiteY2" fmla="*/ 64972 h 4501022"/>
                    <a:gd name="connsiteX3" fmla="*/ 1475616 w 1887006"/>
                    <a:gd name="connsiteY3" fmla="*/ 86940 h 4501022"/>
                    <a:gd name="connsiteX4" fmla="*/ 1887006 w 1887006"/>
                    <a:gd name="connsiteY4" fmla="*/ 4190972 h 4501022"/>
                    <a:gd name="connsiteX5" fmla="*/ 1688921 w 1887006"/>
                    <a:gd name="connsiteY5" fmla="*/ 4501022 h 4501022"/>
                    <a:gd name="connsiteX6" fmla="*/ 329276 w 1887006"/>
                    <a:gd name="connsiteY6" fmla="*/ 4499886 h 4501022"/>
                    <a:gd name="connsiteX7" fmla="*/ 0 w 1887006"/>
                    <a:gd name="connsiteY7" fmla="*/ 4170610 h 4501022"/>
                    <a:gd name="connsiteX8" fmla="*/ 0 w 1887006"/>
                    <a:gd name="connsiteY8" fmla="*/ 512200 h 4501022"/>
                    <a:gd name="connsiteX0" fmla="*/ 0 w 1887006"/>
                    <a:gd name="connsiteY0" fmla="*/ 512200 h 4501022"/>
                    <a:gd name="connsiteX1" fmla="*/ 329276 w 1887006"/>
                    <a:gd name="connsiteY1" fmla="*/ 182924 h 4501022"/>
                    <a:gd name="connsiteX2" fmla="*/ 1058597 w 1887006"/>
                    <a:gd name="connsiteY2" fmla="*/ 64972 h 4501022"/>
                    <a:gd name="connsiteX3" fmla="*/ 1475616 w 1887006"/>
                    <a:gd name="connsiteY3" fmla="*/ 86940 h 4501022"/>
                    <a:gd name="connsiteX4" fmla="*/ 1887006 w 1887006"/>
                    <a:gd name="connsiteY4" fmla="*/ 4190972 h 4501022"/>
                    <a:gd name="connsiteX5" fmla="*/ 1688921 w 1887006"/>
                    <a:gd name="connsiteY5" fmla="*/ 4501022 h 4501022"/>
                    <a:gd name="connsiteX6" fmla="*/ 329276 w 1887006"/>
                    <a:gd name="connsiteY6" fmla="*/ 4499886 h 4501022"/>
                    <a:gd name="connsiteX7" fmla="*/ 0 w 1887006"/>
                    <a:gd name="connsiteY7" fmla="*/ 4170610 h 4501022"/>
                    <a:gd name="connsiteX8" fmla="*/ 0 w 1887006"/>
                    <a:gd name="connsiteY8" fmla="*/ 512200 h 4501022"/>
                    <a:gd name="connsiteX0" fmla="*/ 0 w 1976228"/>
                    <a:gd name="connsiteY0" fmla="*/ 981395 h 4501022"/>
                    <a:gd name="connsiteX1" fmla="*/ 418498 w 1976228"/>
                    <a:gd name="connsiteY1" fmla="*/ 182924 h 4501022"/>
                    <a:gd name="connsiteX2" fmla="*/ 1147819 w 1976228"/>
                    <a:gd name="connsiteY2" fmla="*/ 64972 h 4501022"/>
                    <a:gd name="connsiteX3" fmla="*/ 1564838 w 1976228"/>
                    <a:gd name="connsiteY3" fmla="*/ 86940 h 4501022"/>
                    <a:gd name="connsiteX4" fmla="*/ 1976228 w 1976228"/>
                    <a:gd name="connsiteY4" fmla="*/ 4190972 h 4501022"/>
                    <a:gd name="connsiteX5" fmla="*/ 1778143 w 1976228"/>
                    <a:gd name="connsiteY5" fmla="*/ 4501022 h 4501022"/>
                    <a:gd name="connsiteX6" fmla="*/ 418498 w 1976228"/>
                    <a:gd name="connsiteY6" fmla="*/ 4499886 h 4501022"/>
                    <a:gd name="connsiteX7" fmla="*/ 89222 w 1976228"/>
                    <a:gd name="connsiteY7" fmla="*/ 4170610 h 4501022"/>
                    <a:gd name="connsiteX8" fmla="*/ 0 w 1976228"/>
                    <a:gd name="connsiteY8" fmla="*/ 981395 h 4501022"/>
                    <a:gd name="connsiteX0" fmla="*/ 0 w 1976228"/>
                    <a:gd name="connsiteY0" fmla="*/ 981395 h 4501022"/>
                    <a:gd name="connsiteX1" fmla="*/ 199943 w 1976228"/>
                    <a:gd name="connsiteY1" fmla="*/ 495264 h 4501022"/>
                    <a:gd name="connsiteX2" fmla="*/ 1147819 w 1976228"/>
                    <a:gd name="connsiteY2" fmla="*/ 64972 h 4501022"/>
                    <a:gd name="connsiteX3" fmla="*/ 1564838 w 1976228"/>
                    <a:gd name="connsiteY3" fmla="*/ 86940 h 4501022"/>
                    <a:gd name="connsiteX4" fmla="*/ 1976228 w 1976228"/>
                    <a:gd name="connsiteY4" fmla="*/ 4190972 h 4501022"/>
                    <a:gd name="connsiteX5" fmla="*/ 1778143 w 1976228"/>
                    <a:gd name="connsiteY5" fmla="*/ 4501022 h 4501022"/>
                    <a:gd name="connsiteX6" fmla="*/ 418498 w 1976228"/>
                    <a:gd name="connsiteY6" fmla="*/ 4499886 h 4501022"/>
                    <a:gd name="connsiteX7" fmla="*/ 89222 w 1976228"/>
                    <a:gd name="connsiteY7" fmla="*/ 4170610 h 4501022"/>
                    <a:gd name="connsiteX8" fmla="*/ 0 w 1976228"/>
                    <a:gd name="connsiteY8" fmla="*/ 981395 h 4501022"/>
                    <a:gd name="connsiteX0" fmla="*/ 0 w 1976228"/>
                    <a:gd name="connsiteY0" fmla="*/ 974323 h 4493950"/>
                    <a:gd name="connsiteX1" fmla="*/ 199943 w 1976228"/>
                    <a:gd name="connsiteY1" fmla="*/ 488192 h 4493950"/>
                    <a:gd name="connsiteX2" fmla="*/ 1152815 w 1976228"/>
                    <a:gd name="connsiteY2" fmla="*/ 83600 h 4493950"/>
                    <a:gd name="connsiteX3" fmla="*/ 1564838 w 1976228"/>
                    <a:gd name="connsiteY3" fmla="*/ 79868 h 4493950"/>
                    <a:gd name="connsiteX4" fmla="*/ 1976228 w 1976228"/>
                    <a:gd name="connsiteY4" fmla="*/ 4183900 h 4493950"/>
                    <a:gd name="connsiteX5" fmla="*/ 1778143 w 1976228"/>
                    <a:gd name="connsiteY5" fmla="*/ 4493950 h 4493950"/>
                    <a:gd name="connsiteX6" fmla="*/ 418498 w 1976228"/>
                    <a:gd name="connsiteY6" fmla="*/ 4492814 h 4493950"/>
                    <a:gd name="connsiteX7" fmla="*/ 89222 w 1976228"/>
                    <a:gd name="connsiteY7" fmla="*/ 4163538 h 4493950"/>
                    <a:gd name="connsiteX8" fmla="*/ 0 w 1976228"/>
                    <a:gd name="connsiteY8" fmla="*/ 974323 h 4493950"/>
                    <a:gd name="connsiteX0" fmla="*/ 0 w 1976228"/>
                    <a:gd name="connsiteY0" fmla="*/ 983746 h 4503373"/>
                    <a:gd name="connsiteX1" fmla="*/ 199943 w 1976228"/>
                    <a:gd name="connsiteY1" fmla="*/ 497615 h 4503373"/>
                    <a:gd name="connsiteX2" fmla="*/ 1152815 w 1976228"/>
                    <a:gd name="connsiteY2" fmla="*/ 93023 h 4503373"/>
                    <a:gd name="connsiteX3" fmla="*/ 1564838 w 1976228"/>
                    <a:gd name="connsiteY3" fmla="*/ 89291 h 4503373"/>
                    <a:gd name="connsiteX4" fmla="*/ 1976228 w 1976228"/>
                    <a:gd name="connsiteY4" fmla="*/ 4193323 h 4503373"/>
                    <a:gd name="connsiteX5" fmla="*/ 1778143 w 1976228"/>
                    <a:gd name="connsiteY5" fmla="*/ 4503373 h 4503373"/>
                    <a:gd name="connsiteX6" fmla="*/ 418498 w 1976228"/>
                    <a:gd name="connsiteY6" fmla="*/ 4502237 h 4503373"/>
                    <a:gd name="connsiteX7" fmla="*/ 89222 w 1976228"/>
                    <a:gd name="connsiteY7" fmla="*/ 4172961 h 4503373"/>
                    <a:gd name="connsiteX8" fmla="*/ 0 w 1976228"/>
                    <a:gd name="connsiteY8" fmla="*/ 983746 h 4503373"/>
                    <a:gd name="connsiteX0" fmla="*/ 10 w 1976238"/>
                    <a:gd name="connsiteY0" fmla="*/ 983746 h 4503373"/>
                    <a:gd name="connsiteX1" fmla="*/ 177319 w 1976238"/>
                    <a:gd name="connsiteY1" fmla="*/ 494170 h 4503373"/>
                    <a:gd name="connsiteX2" fmla="*/ 1152825 w 1976238"/>
                    <a:gd name="connsiteY2" fmla="*/ 93023 h 4503373"/>
                    <a:gd name="connsiteX3" fmla="*/ 1564848 w 1976238"/>
                    <a:gd name="connsiteY3" fmla="*/ 89291 h 4503373"/>
                    <a:gd name="connsiteX4" fmla="*/ 1976238 w 1976238"/>
                    <a:gd name="connsiteY4" fmla="*/ 4193323 h 4503373"/>
                    <a:gd name="connsiteX5" fmla="*/ 1778153 w 1976238"/>
                    <a:gd name="connsiteY5" fmla="*/ 4503373 h 4503373"/>
                    <a:gd name="connsiteX6" fmla="*/ 418508 w 1976238"/>
                    <a:gd name="connsiteY6" fmla="*/ 4502237 h 4503373"/>
                    <a:gd name="connsiteX7" fmla="*/ 89232 w 1976238"/>
                    <a:gd name="connsiteY7" fmla="*/ 4172961 h 4503373"/>
                    <a:gd name="connsiteX8" fmla="*/ 10 w 1976238"/>
                    <a:gd name="connsiteY8" fmla="*/ 983746 h 4503373"/>
                    <a:gd name="connsiteX0" fmla="*/ 57 w 1976285"/>
                    <a:gd name="connsiteY0" fmla="*/ 983746 h 4503373"/>
                    <a:gd name="connsiteX1" fmla="*/ 177366 w 1976285"/>
                    <a:gd name="connsiteY1" fmla="*/ 494170 h 4503373"/>
                    <a:gd name="connsiteX2" fmla="*/ 1152872 w 1976285"/>
                    <a:gd name="connsiteY2" fmla="*/ 93023 h 4503373"/>
                    <a:gd name="connsiteX3" fmla="*/ 1564895 w 1976285"/>
                    <a:gd name="connsiteY3" fmla="*/ 89291 h 4503373"/>
                    <a:gd name="connsiteX4" fmla="*/ 1976285 w 1976285"/>
                    <a:gd name="connsiteY4" fmla="*/ 4193323 h 4503373"/>
                    <a:gd name="connsiteX5" fmla="*/ 1778200 w 1976285"/>
                    <a:gd name="connsiteY5" fmla="*/ 4503373 h 4503373"/>
                    <a:gd name="connsiteX6" fmla="*/ 418555 w 1976285"/>
                    <a:gd name="connsiteY6" fmla="*/ 4502237 h 4503373"/>
                    <a:gd name="connsiteX7" fmla="*/ 89279 w 1976285"/>
                    <a:gd name="connsiteY7" fmla="*/ 4172961 h 4503373"/>
                    <a:gd name="connsiteX8" fmla="*/ 57 w 1976285"/>
                    <a:gd name="connsiteY8" fmla="*/ 983746 h 4503373"/>
                    <a:gd name="connsiteX0" fmla="*/ 0 w 1976228"/>
                    <a:gd name="connsiteY0" fmla="*/ 983746 h 4503373"/>
                    <a:gd name="connsiteX1" fmla="*/ 177309 w 1976228"/>
                    <a:gd name="connsiteY1" fmla="*/ 494170 h 4503373"/>
                    <a:gd name="connsiteX2" fmla="*/ 1152815 w 1976228"/>
                    <a:gd name="connsiteY2" fmla="*/ 93023 h 4503373"/>
                    <a:gd name="connsiteX3" fmla="*/ 1564838 w 1976228"/>
                    <a:gd name="connsiteY3" fmla="*/ 89291 h 4503373"/>
                    <a:gd name="connsiteX4" fmla="*/ 1976228 w 1976228"/>
                    <a:gd name="connsiteY4" fmla="*/ 4193323 h 4503373"/>
                    <a:gd name="connsiteX5" fmla="*/ 1778143 w 1976228"/>
                    <a:gd name="connsiteY5" fmla="*/ 4503373 h 4503373"/>
                    <a:gd name="connsiteX6" fmla="*/ 418498 w 1976228"/>
                    <a:gd name="connsiteY6" fmla="*/ 4502237 h 4503373"/>
                    <a:gd name="connsiteX7" fmla="*/ 89222 w 1976228"/>
                    <a:gd name="connsiteY7" fmla="*/ 4172961 h 4503373"/>
                    <a:gd name="connsiteX8" fmla="*/ 0 w 1976228"/>
                    <a:gd name="connsiteY8" fmla="*/ 983746 h 4503373"/>
                    <a:gd name="connsiteX0" fmla="*/ 0 w 1976228"/>
                    <a:gd name="connsiteY0" fmla="*/ 983746 h 4503373"/>
                    <a:gd name="connsiteX1" fmla="*/ 177309 w 1976228"/>
                    <a:gd name="connsiteY1" fmla="*/ 494170 h 4503373"/>
                    <a:gd name="connsiteX2" fmla="*/ 1152815 w 1976228"/>
                    <a:gd name="connsiteY2" fmla="*/ 93023 h 4503373"/>
                    <a:gd name="connsiteX3" fmla="*/ 1564838 w 1976228"/>
                    <a:gd name="connsiteY3" fmla="*/ 89291 h 4503373"/>
                    <a:gd name="connsiteX4" fmla="*/ 1976228 w 1976228"/>
                    <a:gd name="connsiteY4" fmla="*/ 4193323 h 4503373"/>
                    <a:gd name="connsiteX5" fmla="*/ 1778143 w 1976228"/>
                    <a:gd name="connsiteY5" fmla="*/ 4503373 h 4503373"/>
                    <a:gd name="connsiteX6" fmla="*/ 418498 w 1976228"/>
                    <a:gd name="connsiteY6" fmla="*/ 4502237 h 4503373"/>
                    <a:gd name="connsiteX7" fmla="*/ 89222 w 1976228"/>
                    <a:gd name="connsiteY7" fmla="*/ 4172961 h 4503373"/>
                    <a:gd name="connsiteX8" fmla="*/ 0 w 1976228"/>
                    <a:gd name="connsiteY8" fmla="*/ 983746 h 4503373"/>
                    <a:gd name="connsiteX0" fmla="*/ 0 w 1951630"/>
                    <a:gd name="connsiteY0" fmla="*/ 980142 h 4503373"/>
                    <a:gd name="connsiteX1" fmla="*/ 152711 w 1951630"/>
                    <a:gd name="connsiteY1" fmla="*/ 494170 h 4503373"/>
                    <a:gd name="connsiteX2" fmla="*/ 1128217 w 1951630"/>
                    <a:gd name="connsiteY2" fmla="*/ 93023 h 4503373"/>
                    <a:gd name="connsiteX3" fmla="*/ 1540240 w 1951630"/>
                    <a:gd name="connsiteY3" fmla="*/ 89291 h 4503373"/>
                    <a:gd name="connsiteX4" fmla="*/ 1951630 w 1951630"/>
                    <a:gd name="connsiteY4" fmla="*/ 4193323 h 4503373"/>
                    <a:gd name="connsiteX5" fmla="*/ 1753545 w 1951630"/>
                    <a:gd name="connsiteY5" fmla="*/ 4503373 h 4503373"/>
                    <a:gd name="connsiteX6" fmla="*/ 393900 w 1951630"/>
                    <a:gd name="connsiteY6" fmla="*/ 4502237 h 4503373"/>
                    <a:gd name="connsiteX7" fmla="*/ 64624 w 1951630"/>
                    <a:gd name="connsiteY7" fmla="*/ 4172961 h 4503373"/>
                    <a:gd name="connsiteX8" fmla="*/ 0 w 1951630"/>
                    <a:gd name="connsiteY8" fmla="*/ 980142 h 4503373"/>
                    <a:gd name="connsiteX0" fmla="*/ 12809 w 1964439"/>
                    <a:gd name="connsiteY0" fmla="*/ 980142 h 4503373"/>
                    <a:gd name="connsiteX1" fmla="*/ 165520 w 1964439"/>
                    <a:gd name="connsiteY1" fmla="*/ 494170 h 4503373"/>
                    <a:gd name="connsiteX2" fmla="*/ 1141026 w 1964439"/>
                    <a:gd name="connsiteY2" fmla="*/ 93023 h 4503373"/>
                    <a:gd name="connsiteX3" fmla="*/ 1553049 w 1964439"/>
                    <a:gd name="connsiteY3" fmla="*/ 89291 h 4503373"/>
                    <a:gd name="connsiteX4" fmla="*/ 1964439 w 1964439"/>
                    <a:gd name="connsiteY4" fmla="*/ 4193323 h 4503373"/>
                    <a:gd name="connsiteX5" fmla="*/ 1766354 w 1964439"/>
                    <a:gd name="connsiteY5" fmla="*/ 4503373 h 4503373"/>
                    <a:gd name="connsiteX6" fmla="*/ 406709 w 1964439"/>
                    <a:gd name="connsiteY6" fmla="*/ 4502237 h 4503373"/>
                    <a:gd name="connsiteX7" fmla="*/ 77433 w 1964439"/>
                    <a:gd name="connsiteY7" fmla="*/ 4172961 h 4503373"/>
                    <a:gd name="connsiteX8" fmla="*/ 12809 w 1964439"/>
                    <a:gd name="connsiteY8" fmla="*/ 980142 h 4503373"/>
                    <a:gd name="connsiteX0" fmla="*/ 14935 w 1957070"/>
                    <a:gd name="connsiteY0" fmla="*/ 983592 h 4503373"/>
                    <a:gd name="connsiteX1" fmla="*/ 158151 w 1957070"/>
                    <a:gd name="connsiteY1" fmla="*/ 494170 h 4503373"/>
                    <a:gd name="connsiteX2" fmla="*/ 1133657 w 1957070"/>
                    <a:gd name="connsiteY2" fmla="*/ 93023 h 4503373"/>
                    <a:gd name="connsiteX3" fmla="*/ 1545680 w 1957070"/>
                    <a:gd name="connsiteY3" fmla="*/ 89291 h 4503373"/>
                    <a:gd name="connsiteX4" fmla="*/ 1957070 w 1957070"/>
                    <a:gd name="connsiteY4" fmla="*/ 4193323 h 4503373"/>
                    <a:gd name="connsiteX5" fmla="*/ 1758985 w 1957070"/>
                    <a:gd name="connsiteY5" fmla="*/ 4503373 h 4503373"/>
                    <a:gd name="connsiteX6" fmla="*/ 399340 w 1957070"/>
                    <a:gd name="connsiteY6" fmla="*/ 4502237 h 4503373"/>
                    <a:gd name="connsiteX7" fmla="*/ 70064 w 1957070"/>
                    <a:gd name="connsiteY7" fmla="*/ 4172961 h 4503373"/>
                    <a:gd name="connsiteX8" fmla="*/ 14935 w 1957070"/>
                    <a:gd name="connsiteY8" fmla="*/ 983592 h 4503373"/>
                    <a:gd name="connsiteX0" fmla="*/ 14935 w 1957070"/>
                    <a:gd name="connsiteY0" fmla="*/ 983592 h 4503373"/>
                    <a:gd name="connsiteX1" fmla="*/ 158151 w 1957070"/>
                    <a:gd name="connsiteY1" fmla="*/ 494170 h 4503373"/>
                    <a:gd name="connsiteX2" fmla="*/ 1133657 w 1957070"/>
                    <a:gd name="connsiteY2" fmla="*/ 93023 h 4503373"/>
                    <a:gd name="connsiteX3" fmla="*/ 1545680 w 1957070"/>
                    <a:gd name="connsiteY3" fmla="*/ 89291 h 4503373"/>
                    <a:gd name="connsiteX4" fmla="*/ 1957070 w 1957070"/>
                    <a:gd name="connsiteY4" fmla="*/ 4193323 h 4503373"/>
                    <a:gd name="connsiteX5" fmla="*/ 1758985 w 1957070"/>
                    <a:gd name="connsiteY5" fmla="*/ 4503373 h 4503373"/>
                    <a:gd name="connsiteX6" fmla="*/ 399340 w 1957070"/>
                    <a:gd name="connsiteY6" fmla="*/ 4502237 h 4503373"/>
                    <a:gd name="connsiteX7" fmla="*/ 70064 w 1957070"/>
                    <a:gd name="connsiteY7" fmla="*/ 4172961 h 4503373"/>
                    <a:gd name="connsiteX8" fmla="*/ 14935 w 1957070"/>
                    <a:gd name="connsiteY8" fmla="*/ 983592 h 4503373"/>
                    <a:gd name="connsiteX0" fmla="*/ 14935 w 1957070"/>
                    <a:gd name="connsiteY0" fmla="*/ 983592 h 4502237"/>
                    <a:gd name="connsiteX1" fmla="*/ 158151 w 1957070"/>
                    <a:gd name="connsiteY1" fmla="*/ 494170 h 4502237"/>
                    <a:gd name="connsiteX2" fmla="*/ 1133657 w 1957070"/>
                    <a:gd name="connsiteY2" fmla="*/ 93023 h 4502237"/>
                    <a:gd name="connsiteX3" fmla="*/ 1545680 w 1957070"/>
                    <a:gd name="connsiteY3" fmla="*/ 89291 h 4502237"/>
                    <a:gd name="connsiteX4" fmla="*/ 1957070 w 1957070"/>
                    <a:gd name="connsiteY4" fmla="*/ 4193323 h 4502237"/>
                    <a:gd name="connsiteX5" fmla="*/ 1770057 w 1957070"/>
                    <a:gd name="connsiteY5" fmla="*/ 4487689 h 4502237"/>
                    <a:gd name="connsiteX6" fmla="*/ 399340 w 1957070"/>
                    <a:gd name="connsiteY6" fmla="*/ 4502237 h 4502237"/>
                    <a:gd name="connsiteX7" fmla="*/ 70064 w 1957070"/>
                    <a:gd name="connsiteY7" fmla="*/ 4172961 h 4502237"/>
                    <a:gd name="connsiteX8" fmla="*/ 14935 w 1957070"/>
                    <a:gd name="connsiteY8" fmla="*/ 983592 h 4502237"/>
                    <a:gd name="connsiteX0" fmla="*/ 14935 w 1957070"/>
                    <a:gd name="connsiteY0" fmla="*/ 983592 h 4502237"/>
                    <a:gd name="connsiteX1" fmla="*/ 158151 w 1957070"/>
                    <a:gd name="connsiteY1" fmla="*/ 494170 h 4502237"/>
                    <a:gd name="connsiteX2" fmla="*/ 1133657 w 1957070"/>
                    <a:gd name="connsiteY2" fmla="*/ 93023 h 4502237"/>
                    <a:gd name="connsiteX3" fmla="*/ 1545680 w 1957070"/>
                    <a:gd name="connsiteY3" fmla="*/ 89291 h 4502237"/>
                    <a:gd name="connsiteX4" fmla="*/ 1957070 w 1957070"/>
                    <a:gd name="connsiteY4" fmla="*/ 4193323 h 4502237"/>
                    <a:gd name="connsiteX5" fmla="*/ 1770057 w 1957070"/>
                    <a:gd name="connsiteY5" fmla="*/ 4487689 h 4502237"/>
                    <a:gd name="connsiteX6" fmla="*/ 399340 w 1957070"/>
                    <a:gd name="connsiteY6" fmla="*/ 4502237 h 4502237"/>
                    <a:gd name="connsiteX7" fmla="*/ 70064 w 1957070"/>
                    <a:gd name="connsiteY7" fmla="*/ 4172961 h 4502237"/>
                    <a:gd name="connsiteX8" fmla="*/ 14935 w 1957070"/>
                    <a:gd name="connsiteY8" fmla="*/ 983592 h 4502237"/>
                    <a:gd name="connsiteX0" fmla="*/ 14935 w 1957070"/>
                    <a:gd name="connsiteY0" fmla="*/ 983592 h 4487689"/>
                    <a:gd name="connsiteX1" fmla="*/ 158151 w 1957070"/>
                    <a:gd name="connsiteY1" fmla="*/ 494170 h 4487689"/>
                    <a:gd name="connsiteX2" fmla="*/ 1133657 w 1957070"/>
                    <a:gd name="connsiteY2" fmla="*/ 93023 h 4487689"/>
                    <a:gd name="connsiteX3" fmla="*/ 1545680 w 1957070"/>
                    <a:gd name="connsiteY3" fmla="*/ 89291 h 4487689"/>
                    <a:gd name="connsiteX4" fmla="*/ 1957070 w 1957070"/>
                    <a:gd name="connsiteY4" fmla="*/ 4193323 h 4487689"/>
                    <a:gd name="connsiteX5" fmla="*/ 1770057 w 1957070"/>
                    <a:gd name="connsiteY5" fmla="*/ 4487689 h 4487689"/>
                    <a:gd name="connsiteX6" fmla="*/ 414145 w 1957070"/>
                    <a:gd name="connsiteY6" fmla="*/ 4466412 h 4487689"/>
                    <a:gd name="connsiteX7" fmla="*/ 70064 w 1957070"/>
                    <a:gd name="connsiteY7" fmla="*/ 4172961 h 4487689"/>
                    <a:gd name="connsiteX8" fmla="*/ 14935 w 1957070"/>
                    <a:gd name="connsiteY8" fmla="*/ 983592 h 4487689"/>
                    <a:gd name="connsiteX0" fmla="*/ 14935 w 1957070"/>
                    <a:gd name="connsiteY0" fmla="*/ 983592 h 4487689"/>
                    <a:gd name="connsiteX1" fmla="*/ 158151 w 1957070"/>
                    <a:gd name="connsiteY1" fmla="*/ 494170 h 4487689"/>
                    <a:gd name="connsiteX2" fmla="*/ 1133657 w 1957070"/>
                    <a:gd name="connsiteY2" fmla="*/ 93023 h 4487689"/>
                    <a:gd name="connsiteX3" fmla="*/ 1545680 w 1957070"/>
                    <a:gd name="connsiteY3" fmla="*/ 89291 h 4487689"/>
                    <a:gd name="connsiteX4" fmla="*/ 1957070 w 1957070"/>
                    <a:gd name="connsiteY4" fmla="*/ 4193323 h 4487689"/>
                    <a:gd name="connsiteX5" fmla="*/ 1770057 w 1957070"/>
                    <a:gd name="connsiteY5" fmla="*/ 4487689 h 4487689"/>
                    <a:gd name="connsiteX6" fmla="*/ 414145 w 1957070"/>
                    <a:gd name="connsiteY6" fmla="*/ 4466412 h 4487689"/>
                    <a:gd name="connsiteX7" fmla="*/ 70064 w 1957070"/>
                    <a:gd name="connsiteY7" fmla="*/ 4172961 h 4487689"/>
                    <a:gd name="connsiteX8" fmla="*/ 14935 w 1957070"/>
                    <a:gd name="connsiteY8" fmla="*/ 983592 h 4487689"/>
                    <a:gd name="connsiteX0" fmla="*/ 14935 w 1957070"/>
                    <a:gd name="connsiteY0" fmla="*/ 983592 h 4487689"/>
                    <a:gd name="connsiteX1" fmla="*/ 158151 w 1957070"/>
                    <a:gd name="connsiteY1" fmla="*/ 494170 h 4487689"/>
                    <a:gd name="connsiteX2" fmla="*/ 1133657 w 1957070"/>
                    <a:gd name="connsiteY2" fmla="*/ 93023 h 4487689"/>
                    <a:gd name="connsiteX3" fmla="*/ 1545680 w 1957070"/>
                    <a:gd name="connsiteY3" fmla="*/ 89291 h 4487689"/>
                    <a:gd name="connsiteX4" fmla="*/ 1957070 w 1957070"/>
                    <a:gd name="connsiteY4" fmla="*/ 4193323 h 4487689"/>
                    <a:gd name="connsiteX5" fmla="*/ 1770057 w 1957070"/>
                    <a:gd name="connsiteY5" fmla="*/ 4487689 h 4487689"/>
                    <a:gd name="connsiteX6" fmla="*/ 414145 w 1957070"/>
                    <a:gd name="connsiteY6" fmla="*/ 4466412 h 4487689"/>
                    <a:gd name="connsiteX7" fmla="*/ 164724 w 1957070"/>
                    <a:gd name="connsiteY7" fmla="*/ 4178683 h 4487689"/>
                    <a:gd name="connsiteX8" fmla="*/ 14935 w 1957070"/>
                    <a:gd name="connsiteY8" fmla="*/ 983592 h 4487689"/>
                    <a:gd name="connsiteX0" fmla="*/ 14935 w 1957070"/>
                    <a:gd name="connsiteY0" fmla="*/ 983592 h 4487689"/>
                    <a:gd name="connsiteX1" fmla="*/ 158151 w 1957070"/>
                    <a:gd name="connsiteY1" fmla="*/ 494170 h 4487689"/>
                    <a:gd name="connsiteX2" fmla="*/ 517957 w 1957070"/>
                    <a:gd name="connsiteY2" fmla="*/ 342653 h 4487689"/>
                    <a:gd name="connsiteX3" fmla="*/ 1133657 w 1957070"/>
                    <a:gd name="connsiteY3" fmla="*/ 93023 h 4487689"/>
                    <a:gd name="connsiteX4" fmla="*/ 1545680 w 1957070"/>
                    <a:gd name="connsiteY4" fmla="*/ 89291 h 4487689"/>
                    <a:gd name="connsiteX5" fmla="*/ 1957070 w 1957070"/>
                    <a:gd name="connsiteY5" fmla="*/ 4193323 h 4487689"/>
                    <a:gd name="connsiteX6" fmla="*/ 1770057 w 1957070"/>
                    <a:gd name="connsiteY6" fmla="*/ 4487689 h 4487689"/>
                    <a:gd name="connsiteX7" fmla="*/ 414145 w 1957070"/>
                    <a:gd name="connsiteY7" fmla="*/ 4466412 h 4487689"/>
                    <a:gd name="connsiteX8" fmla="*/ 164724 w 1957070"/>
                    <a:gd name="connsiteY8" fmla="*/ 4178683 h 4487689"/>
                    <a:gd name="connsiteX9" fmla="*/ 14935 w 1957070"/>
                    <a:gd name="connsiteY9" fmla="*/ 983592 h 4487689"/>
                    <a:gd name="connsiteX0" fmla="*/ 14935 w 1957070"/>
                    <a:gd name="connsiteY0" fmla="*/ 983592 h 4487689"/>
                    <a:gd name="connsiteX1" fmla="*/ 158151 w 1957070"/>
                    <a:gd name="connsiteY1" fmla="*/ 494170 h 4487689"/>
                    <a:gd name="connsiteX2" fmla="*/ 517957 w 1957070"/>
                    <a:gd name="connsiteY2" fmla="*/ 342653 h 4487689"/>
                    <a:gd name="connsiteX3" fmla="*/ 808509 w 1957070"/>
                    <a:gd name="connsiteY3" fmla="*/ 233222 h 4487689"/>
                    <a:gd name="connsiteX4" fmla="*/ 1133657 w 1957070"/>
                    <a:gd name="connsiteY4" fmla="*/ 93023 h 4487689"/>
                    <a:gd name="connsiteX5" fmla="*/ 1545680 w 1957070"/>
                    <a:gd name="connsiteY5" fmla="*/ 89291 h 4487689"/>
                    <a:gd name="connsiteX6" fmla="*/ 1957070 w 1957070"/>
                    <a:gd name="connsiteY6" fmla="*/ 4193323 h 4487689"/>
                    <a:gd name="connsiteX7" fmla="*/ 1770057 w 1957070"/>
                    <a:gd name="connsiteY7" fmla="*/ 4487689 h 4487689"/>
                    <a:gd name="connsiteX8" fmla="*/ 414145 w 1957070"/>
                    <a:gd name="connsiteY8" fmla="*/ 4466412 h 4487689"/>
                    <a:gd name="connsiteX9" fmla="*/ 164724 w 1957070"/>
                    <a:gd name="connsiteY9" fmla="*/ 4178683 h 4487689"/>
                    <a:gd name="connsiteX10" fmla="*/ 14935 w 1957070"/>
                    <a:gd name="connsiteY10" fmla="*/ 983592 h 4487689"/>
                    <a:gd name="connsiteX0" fmla="*/ 14935 w 1957070"/>
                    <a:gd name="connsiteY0" fmla="*/ 983592 h 4487689"/>
                    <a:gd name="connsiteX1" fmla="*/ 158151 w 1957070"/>
                    <a:gd name="connsiteY1" fmla="*/ 494170 h 4487689"/>
                    <a:gd name="connsiteX2" fmla="*/ 517957 w 1957070"/>
                    <a:gd name="connsiteY2" fmla="*/ 342653 h 4487689"/>
                    <a:gd name="connsiteX3" fmla="*/ 610587 w 1957070"/>
                    <a:gd name="connsiteY3" fmla="*/ 304643 h 4487689"/>
                    <a:gd name="connsiteX4" fmla="*/ 808509 w 1957070"/>
                    <a:gd name="connsiteY4" fmla="*/ 233222 h 4487689"/>
                    <a:gd name="connsiteX5" fmla="*/ 1133657 w 1957070"/>
                    <a:gd name="connsiteY5" fmla="*/ 93023 h 4487689"/>
                    <a:gd name="connsiteX6" fmla="*/ 1545680 w 1957070"/>
                    <a:gd name="connsiteY6" fmla="*/ 89291 h 4487689"/>
                    <a:gd name="connsiteX7" fmla="*/ 1957070 w 1957070"/>
                    <a:gd name="connsiteY7" fmla="*/ 4193323 h 4487689"/>
                    <a:gd name="connsiteX8" fmla="*/ 1770057 w 1957070"/>
                    <a:gd name="connsiteY8" fmla="*/ 4487689 h 4487689"/>
                    <a:gd name="connsiteX9" fmla="*/ 414145 w 1957070"/>
                    <a:gd name="connsiteY9" fmla="*/ 4466412 h 4487689"/>
                    <a:gd name="connsiteX10" fmla="*/ 164724 w 1957070"/>
                    <a:gd name="connsiteY10" fmla="*/ 4178683 h 4487689"/>
                    <a:gd name="connsiteX11" fmla="*/ 14935 w 1957070"/>
                    <a:gd name="connsiteY11" fmla="*/ 983592 h 4487689"/>
                    <a:gd name="connsiteX0" fmla="*/ 14935 w 1957070"/>
                    <a:gd name="connsiteY0" fmla="*/ 983592 h 4487689"/>
                    <a:gd name="connsiteX1" fmla="*/ 158151 w 1957070"/>
                    <a:gd name="connsiteY1" fmla="*/ 494170 h 4487689"/>
                    <a:gd name="connsiteX2" fmla="*/ 517957 w 1957070"/>
                    <a:gd name="connsiteY2" fmla="*/ 342653 h 4487689"/>
                    <a:gd name="connsiteX3" fmla="*/ 679140 w 1957070"/>
                    <a:gd name="connsiteY3" fmla="*/ 530188 h 4487689"/>
                    <a:gd name="connsiteX4" fmla="*/ 808509 w 1957070"/>
                    <a:gd name="connsiteY4" fmla="*/ 233222 h 4487689"/>
                    <a:gd name="connsiteX5" fmla="*/ 1133657 w 1957070"/>
                    <a:gd name="connsiteY5" fmla="*/ 93023 h 4487689"/>
                    <a:gd name="connsiteX6" fmla="*/ 1545680 w 1957070"/>
                    <a:gd name="connsiteY6" fmla="*/ 89291 h 4487689"/>
                    <a:gd name="connsiteX7" fmla="*/ 1957070 w 1957070"/>
                    <a:gd name="connsiteY7" fmla="*/ 4193323 h 4487689"/>
                    <a:gd name="connsiteX8" fmla="*/ 1770057 w 1957070"/>
                    <a:gd name="connsiteY8" fmla="*/ 4487689 h 4487689"/>
                    <a:gd name="connsiteX9" fmla="*/ 414145 w 1957070"/>
                    <a:gd name="connsiteY9" fmla="*/ 4466412 h 4487689"/>
                    <a:gd name="connsiteX10" fmla="*/ 164724 w 1957070"/>
                    <a:gd name="connsiteY10" fmla="*/ 4178683 h 4487689"/>
                    <a:gd name="connsiteX11" fmla="*/ 14935 w 1957070"/>
                    <a:gd name="connsiteY11" fmla="*/ 983592 h 4487689"/>
                    <a:gd name="connsiteX0" fmla="*/ 14935 w 1957070"/>
                    <a:gd name="connsiteY0" fmla="*/ 983592 h 4487689"/>
                    <a:gd name="connsiteX1" fmla="*/ 158151 w 1957070"/>
                    <a:gd name="connsiteY1" fmla="*/ 494170 h 4487689"/>
                    <a:gd name="connsiteX2" fmla="*/ 517957 w 1957070"/>
                    <a:gd name="connsiteY2" fmla="*/ 342653 h 4487689"/>
                    <a:gd name="connsiteX3" fmla="*/ 679140 w 1957070"/>
                    <a:gd name="connsiteY3" fmla="*/ 530188 h 4487689"/>
                    <a:gd name="connsiteX4" fmla="*/ 808509 w 1957070"/>
                    <a:gd name="connsiteY4" fmla="*/ 233222 h 4487689"/>
                    <a:gd name="connsiteX5" fmla="*/ 1133657 w 1957070"/>
                    <a:gd name="connsiteY5" fmla="*/ 93023 h 4487689"/>
                    <a:gd name="connsiteX6" fmla="*/ 1545680 w 1957070"/>
                    <a:gd name="connsiteY6" fmla="*/ 89291 h 4487689"/>
                    <a:gd name="connsiteX7" fmla="*/ 1957070 w 1957070"/>
                    <a:gd name="connsiteY7" fmla="*/ 4193323 h 4487689"/>
                    <a:gd name="connsiteX8" fmla="*/ 1770057 w 1957070"/>
                    <a:gd name="connsiteY8" fmla="*/ 4487689 h 4487689"/>
                    <a:gd name="connsiteX9" fmla="*/ 414145 w 1957070"/>
                    <a:gd name="connsiteY9" fmla="*/ 4466412 h 4487689"/>
                    <a:gd name="connsiteX10" fmla="*/ 164724 w 1957070"/>
                    <a:gd name="connsiteY10" fmla="*/ 4178683 h 4487689"/>
                    <a:gd name="connsiteX11" fmla="*/ 14935 w 1957070"/>
                    <a:gd name="connsiteY11" fmla="*/ 983592 h 4487689"/>
                    <a:gd name="connsiteX0" fmla="*/ 14935 w 1957070"/>
                    <a:gd name="connsiteY0" fmla="*/ 983592 h 4487689"/>
                    <a:gd name="connsiteX1" fmla="*/ 158151 w 1957070"/>
                    <a:gd name="connsiteY1" fmla="*/ 494170 h 4487689"/>
                    <a:gd name="connsiteX2" fmla="*/ 517957 w 1957070"/>
                    <a:gd name="connsiteY2" fmla="*/ 342653 h 4487689"/>
                    <a:gd name="connsiteX3" fmla="*/ 679140 w 1957070"/>
                    <a:gd name="connsiteY3" fmla="*/ 530188 h 4487689"/>
                    <a:gd name="connsiteX4" fmla="*/ 808509 w 1957070"/>
                    <a:gd name="connsiteY4" fmla="*/ 233222 h 4487689"/>
                    <a:gd name="connsiteX5" fmla="*/ 1133657 w 1957070"/>
                    <a:gd name="connsiteY5" fmla="*/ 93023 h 4487689"/>
                    <a:gd name="connsiteX6" fmla="*/ 1545680 w 1957070"/>
                    <a:gd name="connsiteY6" fmla="*/ 89291 h 4487689"/>
                    <a:gd name="connsiteX7" fmla="*/ 1957070 w 1957070"/>
                    <a:gd name="connsiteY7" fmla="*/ 4193323 h 4487689"/>
                    <a:gd name="connsiteX8" fmla="*/ 1770057 w 1957070"/>
                    <a:gd name="connsiteY8" fmla="*/ 4487689 h 4487689"/>
                    <a:gd name="connsiteX9" fmla="*/ 414145 w 1957070"/>
                    <a:gd name="connsiteY9" fmla="*/ 4466412 h 4487689"/>
                    <a:gd name="connsiteX10" fmla="*/ 164724 w 1957070"/>
                    <a:gd name="connsiteY10" fmla="*/ 4178683 h 4487689"/>
                    <a:gd name="connsiteX11" fmla="*/ 14935 w 1957070"/>
                    <a:gd name="connsiteY11" fmla="*/ 983592 h 4487689"/>
                    <a:gd name="connsiteX0" fmla="*/ 14935 w 1957070"/>
                    <a:gd name="connsiteY0" fmla="*/ 983592 h 4487689"/>
                    <a:gd name="connsiteX1" fmla="*/ 158151 w 1957070"/>
                    <a:gd name="connsiteY1" fmla="*/ 494170 h 4487689"/>
                    <a:gd name="connsiteX2" fmla="*/ 517957 w 1957070"/>
                    <a:gd name="connsiteY2" fmla="*/ 342653 h 4487689"/>
                    <a:gd name="connsiteX3" fmla="*/ 676544 w 1957070"/>
                    <a:gd name="connsiteY3" fmla="*/ 507747 h 4487689"/>
                    <a:gd name="connsiteX4" fmla="*/ 808509 w 1957070"/>
                    <a:gd name="connsiteY4" fmla="*/ 233222 h 4487689"/>
                    <a:gd name="connsiteX5" fmla="*/ 1133657 w 1957070"/>
                    <a:gd name="connsiteY5" fmla="*/ 93023 h 4487689"/>
                    <a:gd name="connsiteX6" fmla="*/ 1545680 w 1957070"/>
                    <a:gd name="connsiteY6" fmla="*/ 89291 h 4487689"/>
                    <a:gd name="connsiteX7" fmla="*/ 1957070 w 1957070"/>
                    <a:gd name="connsiteY7" fmla="*/ 4193323 h 4487689"/>
                    <a:gd name="connsiteX8" fmla="*/ 1770057 w 1957070"/>
                    <a:gd name="connsiteY8" fmla="*/ 4487689 h 4487689"/>
                    <a:gd name="connsiteX9" fmla="*/ 414145 w 1957070"/>
                    <a:gd name="connsiteY9" fmla="*/ 4466412 h 4487689"/>
                    <a:gd name="connsiteX10" fmla="*/ 164724 w 1957070"/>
                    <a:gd name="connsiteY10" fmla="*/ 4178683 h 4487689"/>
                    <a:gd name="connsiteX11" fmla="*/ 14935 w 1957070"/>
                    <a:gd name="connsiteY11" fmla="*/ 983592 h 4487689"/>
                    <a:gd name="connsiteX0" fmla="*/ 14935 w 1957070"/>
                    <a:gd name="connsiteY0" fmla="*/ 983592 h 4487689"/>
                    <a:gd name="connsiteX1" fmla="*/ 158151 w 1957070"/>
                    <a:gd name="connsiteY1" fmla="*/ 494170 h 4487689"/>
                    <a:gd name="connsiteX2" fmla="*/ 517957 w 1957070"/>
                    <a:gd name="connsiteY2" fmla="*/ 342653 h 4487689"/>
                    <a:gd name="connsiteX3" fmla="*/ 676544 w 1957070"/>
                    <a:gd name="connsiteY3" fmla="*/ 507747 h 4487689"/>
                    <a:gd name="connsiteX4" fmla="*/ 808509 w 1957070"/>
                    <a:gd name="connsiteY4" fmla="*/ 233222 h 4487689"/>
                    <a:gd name="connsiteX5" fmla="*/ 1133657 w 1957070"/>
                    <a:gd name="connsiteY5" fmla="*/ 93023 h 4487689"/>
                    <a:gd name="connsiteX6" fmla="*/ 1545680 w 1957070"/>
                    <a:gd name="connsiteY6" fmla="*/ 89291 h 4487689"/>
                    <a:gd name="connsiteX7" fmla="*/ 1957070 w 1957070"/>
                    <a:gd name="connsiteY7" fmla="*/ 4193323 h 4487689"/>
                    <a:gd name="connsiteX8" fmla="*/ 1770057 w 1957070"/>
                    <a:gd name="connsiteY8" fmla="*/ 4487689 h 4487689"/>
                    <a:gd name="connsiteX9" fmla="*/ 414145 w 1957070"/>
                    <a:gd name="connsiteY9" fmla="*/ 4466412 h 4487689"/>
                    <a:gd name="connsiteX10" fmla="*/ 164724 w 1957070"/>
                    <a:gd name="connsiteY10" fmla="*/ 4178683 h 4487689"/>
                    <a:gd name="connsiteX11" fmla="*/ 14935 w 1957070"/>
                    <a:gd name="connsiteY11" fmla="*/ 983592 h 4487689"/>
                    <a:gd name="connsiteX0" fmla="*/ 14935 w 1957070"/>
                    <a:gd name="connsiteY0" fmla="*/ 983592 h 4487689"/>
                    <a:gd name="connsiteX1" fmla="*/ 158151 w 1957070"/>
                    <a:gd name="connsiteY1" fmla="*/ 494170 h 4487689"/>
                    <a:gd name="connsiteX2" fmla="*/ 517957 w 1957070"/>
                    <a:gd name="connsiteY2" fmla="*/ 342653 h 4487689"/>
                    <a:gd name="connsiteX3" fmla="*/ 676544 w 1957070"/>
                    <a:gd name="connsiteY3" fmla="*/ 507747 h 4487689"/>
                    <a:gd name="connsiteX4" fmla="*/ 808509 w 1957070"/>
                    <a:gd name="connsiteY4" fmla="*/ 233222 h 4487689"/>
                    <a:gd name="connsiteX5" fmla="*/ 1133657 w 1957070"/>
                    <a:gd name="connsiteY5" fmla="*/ 93023 h 4487689"/>
                    <a:gd name="connsiteX6" fmla="*/ 1545680 w 1957070"/>
                    <a:gd name="connsiteY6" fmla="*/ 89291 h 4487689"/>
                    <a:gd name="connsiteX7" fmla="*/ 1957070 w 1957070"/>
                    <a:gd name="connsiteY7" fmla="*/ 4193323 h 4487689"/>
                    <a:gd name="connsiteX8" fmla="*/ 1770057 w 1957070"/>
                    <a:gd name="connsiteY8" fmla="*/ 4487689 h 4487689"/>
                    <a:gd name="connsiteX9" fmla="*/ 414145 w 1957070"/>
                    <a:gd name="connsiteY9" fmla="*/ 4466412 h 4487689"/>
                    <a:gd name="connsiteX10" fmla="*/ 164724 w 1957070"/>
                    <a:gd name="connsiteY10" fmla="*/ 4178683 h 4487689"/>
                    <a:gd name="connsiteX11" fmla="*/ 14935 w 1957070"/>
                    <a:gd name="connsiteY11" fmla="*/ 983592 h 4487689"/>
                    <a:gd name="connsiteX0" fmla="*/ 14935 w 1957070"/>
                    <a:gd name="connsiteY0" fmla="*/ 983592 h 4487689"/>
                    <a:gd name="connsiteX1" fmla="*/ 158151 w 1957070"/>
                    <a:gd name="connsiteY1" fmla="*/ 494170 h 4487689"/>
                    <a:gd name="connsiteX2" fmla="*/ 517957 w 1957070"/>
                    <a:gd name="connsiteY2" fmla="*/ 342653 h 4487689"/>
                    <a:gd name="connsiteX3" fmla="*/ 676544 w 1957070"/>
                    <a:gd name="connsiteY3" fmla="*/ 507747 h 4487689"/>
                    <a:gd name="connsiteX4" fmla="*/ 808509 w 1957070"/>
                    <a:gd name="connsiteY4" fmla="*/ 233222 h 4487689"/>
                    <a:gd name="connsiteX5" fmla="*/ 1133657 w 1957070"/>
                    <a:gd name="connsiteY5" fmla="*/ 93023 h 4487689"/>
                    <a:gd name="connsiteX6" fmla="*/ 1545680 w 1957070"/>
                    <a:gd name="connsiteY6" fmla="*/ 89291 h 4487689"/>
                    <a:gd name="connsiteX7" fmla="*/ 1957070 w 1957070"/>
                    <a:gd name="connsiteY7" fmla="*/ 4193323 h 4487689"/>
                    <a:gd name="connsiteX8" fmla="*/ 1770057 w 1957070"/>
                    <a:gd name="connsiteY8" fmla="*/ 4487689 h 4487689"/>
                    <a:gd name="connsiteX9" fmla="*/ 414145 w 1957070"/>
                    <a:gd name="connsiteY9" fmla="*/ 4466412 h 4487689"/>
                    <a:gd name="connsiteX10" fmla="*/ 164724 w 1957070"/>
                    <a:gd name="connsiteY10" fmla="*/ 4178683 h 4487689"/>
                    <a:gd name="connsiteX11" fmla="*/ 14935 w 1957070"/>
                    <a:gd name="connsiteY11" fmla="*/ 983592 h 4487689"/>
                    <a:gd name="connsiteX0" fmla="*/ 14935 w 1957070"/>
                    <a:gd name="connsiteY0" fmla="*/ 983592 h 4487689"/>
                    <a:gd name="connsiteX1" fmla="*/ 158151 w 1957070"/>
                    <a:gd name="connsiteY1" fmla="*/ 494170 h 4487689"/>
                    <a:gd name="connsiteX2" fmla="*/ 517957 w 1957070"/>
                    <a:gd name="connsiteY2" fmla="*/ 342653 h 4487689"/>
                    <a:gd name="connsiteX3" fmla="*/ 676544 w 1957070"/>
                    <a:gd name="connsiteY3" fmla="*/ 507747 h 4487689"/>
                    <a:gd name="connsiteX4" fmla="*/ 808509 w 1957070"/>
                    <a:gd name="connsiteY4" fmla="*/ 233222 h 4487689"/>
                    <a:gd name="connsiteX5" fmla="*/ 1133657 w 1957070"/>
                    <a:gd name="connsiteY5" fmla="*/ 93023 h 4487689"/>
                    <a:gd name="connsiteX6" fmla="*/ 1545680 w 1957070"/>
                    <a:gd name="connsiteY6" fmla="*/ 89291 h 4487689"/>
                    <a:gd name="connsiteX7" fmla="*/ 1957070 w 1957070"/>
                    <a:gd name="connsiteY7" fmla="*/ 4193323 h 4487689"/>
                    <a:gd name="connsiteX8" fmla="*/ 1770057 w 1957070"/>
                    <a:gd name="connsiteY8" fmla="*/ 4487689 h 4487689"/>
                    <a:gd name="connsiteX9" fmla="*/ 414145 w 1957070"/>
                    <a:gd name="connsiteY9" fmla="*/ 4466412 h 4487689"/>
                    <a:gd name="connsiteX10" fmla="*/ 164724 w 1957070"/>
                    <a:gd name="connsiteY10" fmla="*/ 4178683 h 4487689"/>
                    <a:gd name="connsiteX11" fmla="*/ 14935 w 1957070"/>
                    <a:gd name="connsiteY11" fmla="*/ 983592 h 4487689"/>
                    <a:gd name="connsiteX0" fmla="*/ 14935 w 1957070"/>
                    <a:gd name="connsiteY0" fmla="*/ 983592 h 4487689"/>
                    <a:gd name="connsiteX1" fmla="*/ 158151 w 1957070"/>
                    <a:gd name="connsiteY1" fmla="*/ 494170 h 4487689"/>
                    <a:gd name="connsiteX2" fmla="*/ 517957 w 1957070"/>
                    <a:gd name="connsiteY2" fmla="*/ 342653 h 4487689"/>
                    <a:gd name="connsiteX3" fmla="*/ 676544 w 1957070"/>
                    <a:gd name="connsiteY3" fmla="*/ 507747 h 4487689"/>
                    <a:gd name="connsiteX4" fmla="*/ 808509 w 1957070"/>
                    <a:gd name="connsiteY4" fmla="*/ 233222 h 4487689"/>
                    <a:gd name="connsiteX5" fmla="*/ 1133657 w 1957070"/>
                    <a:gd name="connsiteY5" fmla="*/ 93023 h 4487689"/>
                    <a:gd name="connsiteX6" fmla="*/ 1545680 w 1957070"/>
                    <a:gd name="connsiteY6" fmla="*/ 89291 h 4487689"/>
                    <a:gd name="connsiteX7" fmla="*/ 1957070 w 1957070"/>
                    <a:gd name="connsiteY7" fmla="*/ 4193323 h 4487689"/>
                    <a:gd name="connsiteX8" fmla="*/ 1770057 w 1957070"/>
                    <a:gd name="connsiteY8" fmla="*/ 4487689 h 4487689"/>
                    <a:gd name="connsiteX9" fmla="*/ 414145 w 1957070"/>
                    <a:gd name="connsiteY9" fmla="*/ 4466412 h 4487689"/>
                    <a:gd name="connsiteX10" fmla="*/ 164724 w 1957070"/>
                    <a:gd name="connsiteY10" fmla="*/ 4178683 h 4487689"/>
                    <a:gd name="connsiteX11" fmla="*/ 14935 w 1957070"/>
                    <a:gd name="connsiteY11" fmla="*/ 983592 h 4487689"/>
                    <a:gd name="connsiteX0" fmla="*/ 14935 w 1957070"/>
                    <a:gd name="connsiteY0" fmla="*/ 983592 h 4487689"/>
                    <a:gd name="connsiteX1" fmla="*/ 158151 w 1957070"/>
                    <a:gd name="connsiteY1" fmla="*/ 494170 h 4487689"/>
                    <a:gd name="connsiteX2" fmla="*/ 522131 w 1957070"/>
                    <a:gd name="connsiteY2" fmla="*/ 345959 h 4487689"/>
                    <a:gd name="connsiteX3" fmla="*/ 676544 w 1957070"/>
                    <a:gd name="connsiteY3" fmla="*/ 507747 h 4487689"/>
                    <a:gd name="connsiteX4" fmla="*/ 808509 w 1957070"/>
                    <a:gd name="connsiteY4" fmla="*/ 233222 h 4487689"/>
                    <a:gd name="connsiteX5" fmla="*/ 1133657 w 1957070"/>
                    <a:gd name="connsiteY5" fmla="*/ 93023 h 4487689"/>
                    <a:gd name="connsiteX6" fmla="*/ 1545680 w 1957070"/>
                    <a:gd name="connsiteY6" fmla="*/ 89291 h 4487689"/>
                    <a:gd name="connsiteX7" fmla="*/ 1957070 w 1957070"/>
                    <a:gd name="connsiteY7" fmla="*/ 4193323 h 4487689"/>
                    <a:gd name="connsiteX8" fmla="*/ 1770057 w 1957070"/>
                    <a:gd name="connsiteY8" fmla="*/ 4487689 h 4487689"/>
                    <a:gd name="connsiteX9" fmla="*/ 414145 w 1957070"/>
                    <a:gd name="connsiteY9" fmla="*/ 4466412 h 4487689"/>
                    <a:gd name="connsiteX10" fmla="*/ 164724 w 1957070"/>
                    <a:gd name="connsiteY10" fmla="*/ 4178683 h 4487689"/>
                    <a:gd name="connsiteX11" fmla="*/ 14935 w 1957070"/>
                    <a:gd name="connsiteY11" fmla="*/ 983592 h 4487689"/>
                    <a:gd name="connsiteX0" fmla="*/ 14935 w 1957070"/>
                    <a:gd name="connsiteY0" fmla="*/ 983592 h 4487689"/>
                    <a:gd name="connsiteX1" fmla="*/ 158151 w 1957070"/>
                    <a:gd name="connsiteY1" fmla="*/ 494170 h 4487689"/>
                    <a:gd name="connsiteX2" fmla="*/ 525012 w 1957070"/>
                    <a:gd name="connsiteY2" fmla="*/ 357755 h 4487689"/>
                    <a:gd name="connsiteX3" fmla="*/ 676544 w 1957070"/>
                    <a:gd name="connsiteY3" fmla="*/ 507747 h 4487689"/>
                    <a:gd name="connsiteX4" fmla="*/ 808509 w 1957070"/>
                    <a:gd name="connsiteY4" fmla="*/ 233222 h 4487689"/>
                    <a:gd name="connsiteX5" fmla="*/ 1133657 w 1957070"/>
                    <a:gd name="connsiteY5" fmla="*/ 93023 h 4487689"/>
                    <a:gd name="connsiteX6" fmla="*/ 1545680 w 1957070"/>
                    <a:gd name="connsiteY6" fmla="*/ 89291 h 4487689"/>
                    <a:gd name="connsiteX7" fmla="*/ 1957070 w 1957070"/>
                    <a:gd name="connsiteY7" fmla="*/ 4193323 h 4487689"/>
                    <a:gd name="connsiteX8" fmla="*/ 1770057 w 1957070"/>
                    <a:gd name="connsiteY8" fmla="*/ 4487689 h 4487689"/>
                    <a:gd name="connsiteX9" fmla="*/ 414145 w 1957070"/>
                    <a:gd name="connsiteY9" fmla="*/ 4466412 h 4487689"/>
                    <a:gd name="connsiteX10" fmla="*/ 164724 w 1957070"/>
                    <a:gd name="connsiteY10" fmla="*/ 4178683 h 4487689"/>
                    <a:gd name="connsiteX11" fmla="*/ 14935 w 1957070"/>
                    <a:gd name="connsiteY11" fmla="*/ 983592 h 4487689"/>
                    <a:gd name="connsiteX0" fmla="*/ 14935 w 1957070"/>
                    <a:gd name="connsiteY0" fmla="*/ 983592 h 4487689"/>
                    <a:gd name="connsiteX1" fmla="*/ 158151 w 1957070"/>
                    <a:gd name="connsiteY1" fmla="*/ 494170 h 4487689"/>
                    <a:gd name="connsiteX2" fmla="*/ 531626 w 1957070"/>
                    <a:gd name="connsiteY2" fmla="*/ 349410 h 4487689"/>
                    <a:gd name="connsiteX3" fmla="*/ 676544 w 1957070"/>
                    <a:gd name="connsiteY3" fmla="*/ 507747 h 4487689"/>
                    <a:gd name="connsiteX4" fmla="*/ 808509 w 1957070"/>
                    <a:gd name="connsiteY4" fmla="*/ 233222 h 4487689"/>
                    <a:gd name="connsiteX5" fmla="*/ 1133657 w 1957070"/>
                    <a:gd name="connsiteY5" fmla="*/ 93023 h 4487689"/>
                    <a:gd name="connsiteX6" fmla="*/ 1545680 w 1957070"/>
                    <a:gd name="connsiteY6" fmla="*/ 89291 h 4487689"/>
                    <a:gd name="connsiteX7" fmla="*/ 1957070 w 1957070"/>
                    <a:gd name="connsiteY7" fmla="*/ 4193323 h 4487689"/>
                    <a:gd name="connsiteX8" fmla="*/ 1770057 w 1957070"/>
                    <a:gd name="connsiteY8" fmla="*/ 4487689 h 4487689"/>
                    <a:gd name="connsiteX9" fmla="*/ 414145 w 1957070"/>
                    <a:gd name="connsiteY9" fmla="*/ 4466412 h 4487689"/>
                    <a:gd name="connsiteX10" fmla="*/ 164724 w 1957070"/>
                    <a:gd name="connsiteY10" fmla="*/ 4178683 h 4487689"/>
                    <a:gd name="connsiteX11" fmla="*/ 14935 w 1957070"/>
                    <a:gd name="connsiteY11" fmla="*/ 983592 h 4487689"/>
                    <a:gd name="connsiteX0" fmla="*/ 14935 w 1957070"/>
                    <a:gd name="connsiteY0" fmla="*/ 983592 h 4487689"/>
                    <a:gd name="connsiteX1" fmla="*/ 158151 w 1957070"/>
                    <a:gd name="connsiteY1" fmla="*/ 494170 h 4487689"/>
                    <a:gd name="connsiteX2" fmla="*/ 531626 w 1957070"/>
                    <a:gd name="connsiteY2" fmla="*/ 349410 h 4487689"/>
                    <a:gd name="connsiteX3" fmla="*/ 676544 w 1957070"/>
                    <a:gd name="connsiteY3" fmla="*/ 507747 h 4487689"/>
                    <a:gd name="connsiteX4" fmla="*/ 808509 w 1957070"/>
                    <a:gd name="connsiteY4" fmla="*/ 233222 h 4487689"/>
                    <a:gd name="connsiteX5" fmla="*/ 1133657 w 1957070"/>
                    <a:gd name="connsiteY5" fmla="*/ 93023 h 4487689"/>
                    <a:gd name="connsiteX6" fmla="*/ 1545680 w 1957070"/>
                    <a:gd name="connsiteY6" fmla="*/ 89291 h 4487689"/>
                    <a:gd name="connsiteX7" fmla="*/ 1957070 w 1957070"/>
                    <a:gd name="connsiteY7" fmla="*/ 4193323 h 4487689"/>
                    <a:gd name="connsiteX8" fmla="*/ 1770057 w 1957070"/>
                    <a:gd name="connsiteY8" fmla="*/ 4487689 h 4487689"/>
                    <a:gd name="connsiteX9" fmla="*/ 414145 w 1957070"/>
                    <a:gd name="connsiteY9" fmla="*/ 4466412 h 4487689"/>
                    <a:gd name="connsiteX10" fmla="*/ 164724 w 1957070"/>
                    <a:gd name="connsiteY10" fmla="*/ 4178683 h 4487689"/>
                    <a:gd name="connsiteX11" fmla="*/ 14935 w 1957070"/>
                    <a:gd name="connsiteY11" fmla="*/ 983592 h 4487689"/>
                    <a:gd name="connsiteX0" fmla="*/ 14935 w 1957070"/>
                    <a:gd name="connsiteY0" fmla="*/ 983592 h 4487689"/>
                    <a:gd name="connsiteX1" fmla="*/ 158151 w 1957070"/>
                    <a:gd name="connsiteY1" fmla="*/ 494170 h 4487689"/>
                    <a:gd name="connsiteX2" fmla="*/ 531626 w 1957070"/>
                    <a:gd name="connsiteY2" fmla="*/ 349410 h 4487689"/>
                    <a:gd name="connsiteX3" fmla="*/ 676544 w 1957070"/>
                    <a:gd name="connsiteY3" fmla="*/ 507747 h 4487689"/>
                    <a:gd name="connsiteX4" fmla="*/ 808509 w 1957070"/>
                    <a:gd name="connsiteY4" fmla="*/ 233222 h 4487689"/>
                    <a:gd name="connsiteX5" fmla="*/ 1133657 w 1957070"/>
                    <a:gd name="connsiteY5" fmla="*/ 93023 h 4487689"/>
                    <a:gd name="connsiteX6" fmla="*/ 1545680 w 1957070"/>
                    <a:gd name="connsiteY6" fmla="*/ 89291 h 4487689"/>
                    <a:gd name="connsiteX7" fmla="*/ 1957070 w 1957070"/>
                    <a:gd name="connsiteY7" fmla="*/ 4193323 h 4487689"/>
                    <a:gd name="connsiteX8" fmla="*/ 1770057 w 1957070"/>
                    <a:gd name="connsiteY8" fmla="*/ 4487689 h 4487689"/>
                    <a:gd name="connsiteX9" fmla="*/ 414145 w 1957070"/>
                    <a:gd name="connsiteY9" fmla="*/ 4466412 h 4487689"/>
                    <a:gd name="connsiteX10" fmla="*/ 164724 w 1957070"/>
                    <a:gd name="connsiteY10" fmla="*/ 4178683 h 4487689"/>
                    <a:gd name="connsiteX11" fmla="*/ 14935 w 1957070"/>
                    <a:gd name="connsiteY11" fmla="*/ 983592 h 4487689"/>
                    <a:gd name="connsiteX0" fmla="*/ 14169 w 1956304"/>
                    <a:gd name="connsiteY0" fmla="*/ 983592 h 4487689"/>
                    <a:gd name="connsiteX1" fmla="*/ 157385 w 1956304"/>
                    <a:gd name="connsiteY1" fmla="*/ 494170 h 4487689"/>
                    <a:gd name="connsiteX2" fmla="*/ 530860 w 1956304"/>
                    <a:gd name="connsiteY2" fmla="*/ 349410 h 4487689"/>
                    <a:gd name="connsiteX3" fmla="*/ 675778 w 1956304"/>
                    <a:gd name="connsiteY3" fmla="*/ 507747 h 4487689"/>
                    <a:gd name="connsiteX4" fmla="*/ 807743 w 1956304"/>
                    <a:gd name="connsiteY4" fmla="*/ 233222 h 4487689"/>
                    <a:gd name="connsiteX5" fmla="*/ 1132891 w 1956304"/>
                    <a:gd name="connsiteY5" fmla="*/ 93023 h 4487689"/>
                    <a:gd name="connsiteX6" fmla="*/ 1544914 w 1956304"/>
                    <a:gd name="connsiteY6" fmla="*/ 89291 h 4487689"/>
                    <a:gd name="connsiteX7" fmla="*/ 1956304 w 1956304"/>
                    <a:gd name="connsiteY7" fmla="*/ 4193323 h 4487689"/>
                    <a:gd name="connsiteX8" fmla="*/ 1769291 w 1956304"/>
                    <a:gd name="connsiteY8" fmla="*/ 4487689 h 4487689"/>
                    <a:gd name="connsiteX9" fmla="*/ 413379 w 1956304"/>
                    <a:gd name="connsiteY9" fmla="*/ 4466412 h 4487689"/>
                    <a:gd name="connsiteX10" fmla="*/ 163958 w 1956304"/>
                    <a:gd name="connsiteY10" fmla="*/ 4178683 h 4487689"/>
                    <a:gd name="connsiteX11" fmla="*/ 14169 w 1956304"/>
                    <a:gd name="connsiteY11" fmla="*/ 983592 h 4487689"/>
                    <a:gd name="connsiteX0" fmla="*/ 14169 w 1956304"/>
                    <a:gd name="connsiteY0" fmla="*/ 983592 h 4487689"/>
                    <a:gd name="connsiteX1" fmla="*/ 157385 w 1956304"/>
                    <a:gd name="connsiteY1" fmla="*/ 494170 h 4487689"/>
                    <a:gd name="connsiteX2" fmla="*/ 530860 w 1956304"/>
                    <a:gd name="connsiteY2" fmla="*/ 349410 h 4487689"/>
                    <a:gd name="connsiteX3" fmla="*/ 675778 w 1956304"/>
                    <a:gd name="connsiteY3" fmla="*/ 507747 h 4487689"/>
                    <a:gd name="connsiteX4" fmla="*/ 807743 w 1956304"/>
                    <a:gd name="connsiteY4" fmla="*/ 233222 h 4487689"/>
                    <a:gd name="connsiteX5" fmla="*/ 1132891 w 1956304"/>
                    <a:gd name="connsiteY5" fmla="*/ 93023 h 4487689"/>
                    <a:gd name="connsiteX6" fmla="*/ 1544914 w 1956304"/>
                    <a:gd name="connsiteY6" fmla="*/ 89291 h 4487689"/>
                    <a:gd name="connsiteX7" fmla="*/ 1956304 w 1956304"/>
                    <a:gd name="connsiteY7" fmla="*/ 4193323 h 4487689"/>
                    <a:gd name="connsiteX8" fmla="*/ 1769291 w 1956304"/>
                    <a:gd name="connsiteY8" fmla="*/ 4487689 h 4487689"/>
                    <a:gd name="connsiteX9" fmla="*/ 413379 w 1956304"/>
                    <a:gd name="connsiteY9" fmla="*/ 4466412 h 4487689"/>
                    <a:gd name="connsiteX10" fmla="*/ 163958 w 1956304"/>
                    <a:gd name="connsiteY10" fmla="*/ 4178683 h 4487689"/>
                    <a:gd name="connsiteX11" fmla="*/ 14169 w 1956304"/>
                    <a:gd name="connsiteY11" fmla="*/ 983592 h 4487689"/>
                    <a:gd name="connsiteX0" fmla="*/ 14169 w 1956304"/>
                    <a:gd name="connsiteY0" fmla="*/ 983592 h 4487689"/>
                    <a:gd name="connsiteX1" fmla="*/ 157385 w 1956304"/>
                    <a:gd name="connsiteY1" fmla="*/ 494170 h 4487689"/>
                    <a:gd name="connsiteX2" fmla="*/ 530860 w 1956304"/>
                    <a:gd name="connsiteY2" fmla="*/ 349410 h 4487689"/>
                    <a:gd name="connsiteX3" fmla="*/ 675778 w 1956304"/>
                    <a:gd name="connsiteY3" fmla="*/ 507747 h 4487689"/>
                    <a:gd name="connsiteX4" fmla="*/ 807743 w 1956304"/>
                    <a:gd name="connsiteY4" fmla="*/ 233222 h 4487689"/>
                    <a:gd name="connsiteX5" fmla="*/ 1132891 w 1956304"/>
                    <a:gd name="connsiteY5" fmla="*/ 93023 h 4487689"/>
                    <a:gd name="connsiteX6" fmla="*/ 1544914 w 1956304"/>
                    <a:gd name="connsiteY6" fmla="*/ 89291 h 4487689"/>
                    <a:gd name="connsiteX7" fmla="*/ 1956304 w 1956304"/>
                    <a:gd name="connsiteY7" fmla="*/ 4193323 h 4487689"/>
                    <a:gd name="connsiteX8" fmla="*/ 1769291 w 1956304"/>
                    <a:gd name="connsiteY8" fmla="*/ 4487689 h 4487689"/>
                    <a:gd name="connsiteX9" fmla="*/ 413379 w 1956304"/>
                    <a:gd name="connsiteY9" fmla="*/ 4466412 h 4487689"/>
                    <a:gd name="connsiteX10" fmla="*/ 163958 w 1956304"/>
                    <a:gd name="connsiteY10" fmla="*/ 4178683 h 4487689"/>
                    <a:gd name="connsiteX11" fmla="*/ 14169 w 1956304"/>
                    <a:gd name="connsiteY11" fmla="*/ 983592 h 4487689"/>
                    <a:gd name="connsiteX0" fmla="*/ 14169 w 1956304"/>
                    <a:gd name="connsiteY0" fmla="*/ 983592 h 4487689"/>
                    <a:gd name="connsiteX1" fmla="*/ 157385 w 1956304"/>
                    <a:gd name="connsiteY1" fmla="*/ 494170 h 4487689"/>
                    <a:gd name="connsiteX2" fmla="*/ 530860 w 1956304"/>
                    <a:gd name="connsiteY2" fmla="*/ 349410 h 4487689"/>
                    <a:gd name="connsiteX3" fmla="*/ 675778 w 1956304"/>
                    <a:gd name="connsiteY3" fmla="*/ 507747 h 4487689"/>
                    <a:gd name="connsiteX4" fmla="*/ 807743 w 1956304"/>
                    <a:gd name="connsiteY4" fmla="*/ 233222 h 4487689"/>
                    <a:gd name="connsiteX5" fmla="*/ 1132891 w 1956304"/>
                    <a:gd name="connsiteY5" fmla="*/ 93023 h 4487689"/>
                    <a:gd name="connsiteX6" fmla="*/ 1544914 w 1956304"/>
                    <a:gd name="connsiteY6" fmla="*/ 89291 h 4487689"/>
                    <a:gd name="connsiteX7" fmla="*/ 1956304 w 1956304"/>
                    <a:gd name="connsiteY7" fmla="*/ 4193323 h 4487689"/>
                    <a:gd name="connsiteX8" fmla="*/ 1769291 w 1956304"/>
                    <a:gd name="connsiteY8" fmla="*/ 4487689 h 4487689"/>
                    <a:gd name="connsiteX9" fmla="*/ 413379 w 1956304"/>
                    <a:gd name="connsiteY9" fmla="*/ 4466412 h 4487689"/>
                    <a:gd name="connsiteX10" fmla="*/ 163958 w 1956304"/>
                    <a:gd name="connsiteY10" fmla="*/ 4178683 h 4487689"/>
                    <a:gd name="connsiteX11" fmla="*/ 14169 w 1956304"/>
                    <a:gd name="connsiteY11" fmla="*/ 983592 h 4487689"/>
                    <a:gd name="connsiteX0" fmla="*/ 6424 w 1948559"/>
                    <a:gd name="connsiteY0" fmla="*/ 983592 h 4487689"/>
                    <a:gd name="connsiteX1" fmla="*/ 149640 w 1948559"/>
                    <a:gd name="connsiteY1" fmla="*/ 494170 h 4487689"/>
                    <a:gd name="connsiteX2" fmla="*/ 523115 w 1948559"/>
                    <a:gd name="connsiteY2" fmla="*/ 349410 h 4487689"/>
                    <a:gd name="connsiteX3" fmla="*/ 668033 w 1948559"/>
                    <a:gd name="connsiteY3" fmla="*/ 507747 h 4487689"/>
                    <a:gd name="connsiteX4" fmla="*/ 799998 w 1948559"/>
                    <a:gd name="connsiteY4" fmla="*/ 233222 h 4487689"/>
                    <a:gd name="connsiteX5" fmla="*/ 1125146 w 1948559"/>
                    <a:gd name="connsiteY5" fmla="*/ 93023 h 4487689"/>
                    <a:gd name="connsiteX6" fmla="*/ 1537169 w 1948559"/>
                    <a:gd name="connsiteY6" fmla="*/ 89291 h 4487689"/>
                    <a:gd name="connsiteX7" fmla="*/ 1948559 w 1948559"/>
                    <a:gd name="connsiteY7" fmla="*/ 4193323 h 4487689"/>
                    <a:gd name="connsiteX8" fmla="*/ 1761546 w 1948559"/>
                    <a:gd name="connsiteY8" fmla="*/ 4487689 h 4487689"/>
                    <a:gd name="connsiteX9" fmla="*/ 405634 w 1948559"/>
                    <a:gd name="connsiteY9" fmla="*/ 4466412 h 4487689"/>
                    <a:gd name="connsiteX10" fmla="*/ 156213 w 1948559"/>
                    <a:gd name="connsiteY10" fmla="*/ 4178683 h 4487689"/>
                    <a:gd name="connsiteX11" fmla="*/ 6424 w 1948559"/>
                    <a:gd name="connsiteY11" fmla="*/ 983592 h 4487689"/>
                    <a:gd name="connsiteX0" fmla="*/ 0 w 1942135"/>
                    <a:gd name="connsiteY0" fmla="*/ 983592 h 4487689"/>
                    <a:gd name="connsiteX1" fmla="*/ 143216 w 1942135"/>
                    <a:gd name="connsiteY1" fmla="*/ 494170 h 4487689"/>
                    <a:gd name="connsiteX2" fmla="*/ 516691 w 1942135"/>
                    <a:gd name="connsiteY2" fmla="*/ 349410 h 4487689"/>
                    <a:gd name="connsiteX3" fmla="*/ 661609 w 1942135"/>
                    <a:gd name="connsiteY3" fmla="*/ 507747 h 4487689"/>
                    <a:gd name="connsiteX4" fmla="*/ 793574 w 1942135"/>
                    <a:gd name="connsiteY4" fmla="*/ 233222 h 4487689"/>
                    <a:gd name="connsiteX5" fmla="*/ 1118722 w 1942135"/>
                    <a:gd name="connsiteY5" fmla="*/ 93023 h 4487689"/>
                    <a:gd name="connsiteX6" fmla="*/ 1530745 w 1942135"/>
                    <a:gd name="connsiteY6" fmla="*/ 89291 h 4487689"/>
                    <a:gd name="connsiteX7" fmla="*/ 1942135 w 1942135"/>
                    <a:gd name="connsiteY7" fmla="*/ 4193323 h 4487689"/>
                    <a:gd name="connsiteX8" fmla="*/ 1755122 w 1942135"/>
                    <a:gd name="connsiteY8" fmla="*/ 4487689 h 4487689"/>
                    <a:gd name="connsiteX9" fmla="*/ 399210 w 1942135"/>
                    <a:gd name="connsiteY9" fmla="*/ 4466412 h 4487689"/>
                    <a:gd name="connsiteX10" fmla="*/ 149789 w 1942135"/>
                    <a:gd name="connsiteY10" fmla="*/ 4178683 h 4487689"/>
                    <a:gd name="connsiteX11" fmla="*/ 0 w 1942135"/>
                    <a:gd name="connsiteY11" fmla="*/ 983592 h 4487689"/>
                    <a:gd name="connsiteX0" fmla="*/ 2841 w 1944976"/>
                    <a:gd name="connsiteY0" fmla="*/ 983592 h 4487689"/>
                    <a:gd name="connsiteX1" fmla="*/ 146057 w 1944976"/>
                    <a:gd name="connsiteY1" fmla="*/ 494170 h 4487689"/>
                    <a:gd name="connsiteX2" fmla="*/ 519532 w 1944976"/>
                    <a:gd name="connsiteY2" fmla="*/ 349410 h 4487689"/>
                    <a:gd name="connsiteX3" fmla="*/ 664450 w 1944976"/>
                    <a:gd name="connsiteY3" fmla="*/ 507747 h 4487689"/>
                    <a:gd name="connsiteX4" fmla="*/ 796415 w 1944976"/>
                    <a:gd name="connsiteY4" fmla="*/ 233222 h 4487689"/>
                    <a:gd name="connsiteX5" fmla="*/ 1121563 w 1944976"/>
                    <a:gd name="connsiteY5" fmla="*/ 93023 h 4487689"/>
                    <a:gd name="connsiteX6" fmla="*/ 1533586 w 1944976"/>
                    <a:gd name="connsiteY6" fmla="*/ 89291 h 4487689"/>
                    <a:gd name="connsiteX7" fmla="*/ 1944976 w 1944976"/>
                    <a:gd name="connsiteY7" fmla="*/ 4193323 h 4487689"/>
                    <a:gd name="connsiteX8" fmla="*/ 1757963 w 1944976"/>
                    <a:gd name="connsiteY8" fmla="*/ 4487689 h 4487689"/>
                    <a:gd name="connsiteX9" fmla="*/ 402051 w 1944976"/>
                    <a:gd name="connsiteY9" fmla="*/ 4466412 h 4487689"/>
                    <a:gd name="connsiteX10" fmla="*/ 152630 w 1944976"/>
                    <a:gd name="connsiteY10" fmla="*/ 4178683 h 4487689"/>
                    <a:gd name="connsiteX11" fmla="*/ 2841 w 1944976"/>
                    <a:gd name="connsiteY11" fmla="*/ 983592 h 4487689"/>
                    <a:gd name="connsiteX0" fmla="*/ 6079 w 1948214"/>
                    <a:gd name="connsiteY0" fmla="*/ 983592 h 4487689"/>
                    <a:gd name="connsiteX1" fmla="*/ 149295 w 1948214"/>
                    <a:gd name="connsiteY1" fmla="*/ 494170 h 4487689"/>
                    <a:gd name="connsiteX2" fmla="*/ 522770 w 1948214"/>
                    <a:gd name="connsiteY2" fmla="*/ 349410 h 4487689"/>
                    <a:gd name="connsiteX3" fmla="*/ 667688 w 1948214"/>
                    <a:gd name="connsiteY3" fmla="*/ 507747 h 4487689"/>
                    <a:gd name="connsiteX4" fmla="*/ 799653 w 1948214"/>
                    <a:gd name="connsiteY4" fmla="*/ 233222 h 4487689"/>
                    <a:gd name="connsiteX5" fmla="*/ 1124801 w 1948214"/>
                    <a:gd name="connsiteY5" fmla="*/ 93023 h 4487689"/>
                    <a:gd name="connsiteX6" fmla="*/ 1536824 w 1948214"/>
                    <a:gd name="connsiteY6" fmla="*/ 89291 h 4487689"/>
                    <a:gd name="connsiteX7" fmla="*/ 1948214 w 1948214"/>
                    <a:gd name="connsiteY7" fmla="*/ 4193323 h 4487689"/>
                    <a:gd name="connsiteX8" fmla="*/ 1761201 w 1948214"/>
                    <a:gd name="connsiteY8" fmla="*/ 4487689 h 4487689"/>
                    <a:gd name="connsiteX9" fmla="*/ 405289 w 1948214"/>
                    <a:gd name="connsiteY9" fmla="*/ 4466412 h 4487689"/>
                    <a:gd name="connsiteX10" fmla="*/ 155868 w 1948214"/>
                    <a:gd name="connsiteY10" fmla="*/ 4178683 h 4487689"/>
                    <a:gd name="connsiteX11" fmla="*/ 6079 w 1948214"/>
                    <a:gd name="connsiteY11" fmla="*/ 983592 h 448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48214" h="4487689">
                      <a:moveTo>
                        <a:pt x="6079" y="983592"/>
                      </a:moveTo>
                      <a:cubicBezTo>
                        <a:pt x="1800" y="644312"/>
                        <a:pt x="-36382" y="530999"/>
                        <a:pt x="149295" y="494170"/>
                      </a:cubicBezTo>
                      <a:lnTo>
                        <a:pt x="522770" y="349410"/>
                      </a:lnTo>
                      <a:cubicBezTo>
                        <a:pt x="587142" y="412206"/>
                        <a:pt x="624063" y="545644"/>
                        <a:pt x="667688" y="507747"/>
                      </a:cubicBezTo>
                      <a:cubicBezTo>
                        <a:pt x="769245" y="494478"/>
                        <a:pt x="740704" y="326462"/>
                        <a:pt x="799653" y="233222"/>
                      </a:cubicBezTo>
                      <a:lnTo>
                        <a:pt x="1124801" y="93023"/>
                      </a:lnTo>
                      <a:cubicBezTo>
                        <a:pt x="1302039" y="53128"/>
                        <a:pt x="1536824" y="-92563"/>
                        <a:pt x="1536824" y="89291"/>
                      </a:cubicBezTo>
                      <a:cubicBezTo>
                        <a:pt x="1687536" y="1161272"/>
                        <a:pt x="1792055" y="2899612"/>
                        <a:pt x="1948214" y="4193323"/>
                      </a:cubicBezTo>
                      <a:cubicBezTo>
                        <a:pt x="1948214" y="4375177"/>
                        <a:pt x="1935812" y="4479683"/>
                        <a:pt x="1761201" y="4487689"/>
                      </a:cubicBezTo>
                      <a:lnTo>
                        <a:pt x="405289" y="4466412"/>
                      </a:lnTo>
                      <a:cubicBezTo>
                        <a:pt x="214095" y="4497057"/>
                        <a:pt x="155868" y="4360537"/>
                        <a:pt x="155868" y="4178683"/>
                      </a:cubicBezTo>
                      <a:cubicBezTo>
                        <a:pt x="126127" y="3115611"/>
                        <a:pt x="56844" y="2056103"/>
                        <a:pt x="6079" y="983592"/>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TN" dirty="0">
                    <a:solidFill>
                      <a:schemeClr val="bg1"/>
                    </a:solidFill>
                  </a:endParaRPr>
                </a:p>
              </p:txBody>
            </p:sp>
            <p:sp>
              <p:nvSpPr>
                <p:cNvPr id="65" name="Rectangle 48">
                  <a:extLst>
                    <a:ext uri="{FF2B5EF4-FFF2-40B4-BE49-F238E27FC236}">
                      <a16:creationId xmlns:a16="http://schemas.microsoft.com/office/drawing/2014/main" id="{3CB5985B-D089-4F1E-92E8-08E684FF4D58}"/>
                    </a:ext>
                  </a:extLst>
                </p:cNvPr>
                <p:cNvSpPr/>
                <p:nvPr/>
              </p:nvSpPr>
              <p:spPr>
                <a:xfrm rot="1118947">
                  <a:off x="9426531" y="3371540"/>
                  <a:ext cx="2009218" cy="1500665"/>
                </a:xfrm>
                <a:custGeom>
                  <a:avLst/>
                  <a:gdLst>
                    <a:gd name="connsiteX0" fmla="*/ 0 w 3899003"/>
                    <a:gd name="connsiteY0" fmla="*/ 0 h 2520475"/>
                    <a:gd name="connsiteX1" fmla="*/ 3899003 w 3899003"/>
                    <a:gd name="connsiteY1" fmla="*/ 0 h 2520475"/>
                    <a:gd name="connsiteX2" fmla="*/ 3899003 w 3899003"/>
                    <a:gd name="connsiteY2" fmla="*/ 2520475 h 2520475"/>
                    <a:gd name="connsiteX3" fmla="*/ 0 w 3899003"/>
                    <a:gd name="connsiteY3" fmla="*/ 2520475 h 2520475"/>
                    <a:gd name="connsiteX4" fmla="*/ 0 w 3899003"/>
                    <a:gd name="connsiteY4" fmla="*/ 0 h 2520475"/>
                    <a:gd name="connsiteX0" fmla="*/ 0 w 3918053"/>
                    <a:gd name="connsiteY0" fmla="*/ 104775 h 2625250"/>
                    <a:gd name="connsiteX1" fmla="*/ 3918053 w 3918053"/>
                    <a:gd name="connsiteY1" fmla="*/ 0 h 2625250"/>
                    <a:gd name="connsiteX2" fmla="*/ 3899003 w 3918053"/>
                    <a:gd name="connsiteY2" fmla="*/ 2625250 h 2625250"/>
                    <a:gd name="connsiteX3" fmla="*/ 0 w 3918053"/>
                    <a:gd name="connsiteY3" fmla="*/ 2625250 h 2625250"/>
                    <a:gd name="connsiteX4" fmla="*/ 0 w 3918053"/>
                    <a:gd name="connsiteY4" fmla="*/ 104775 h 2625250"/>
                    <a:gd name="connsiteX0" fmla="*/ 66675 w 3918053"/>
                    <a:gd name="connsiteY0" fmla="*/ 142875 h 2625250"/>
                    <a:gd name="connsiteX1" fmla="*/ 3918053 w 3918053"/>
                    <a:gd name="connsiteY1" fmla="*/ 0 h 2625250"/>
                    <a:gd name="connsiteX2" fmla="*/ 3899003 w 3918053"/>
                    <a:gd name="connsiteY2" fmla="*/ 2625250 h 2625250"/>
                    <a:gd name="connsiteX3" fmla="*/ 0 w 3918053"/>
                    <a:gd name="connsiteY3" fmla="*/ 2625250 h 2625250"/>
                    <a:gd name="connsiteX4" fmla="*/ 66675 w 3918053"/>
                    <a:gd name="connsiteY4" fmla="*/ 142875 h 2625250"/>
                    <a:gd name="connsiteX0" fmla="*/ 0 w 3918053"/>
                    <a:gd name="connsiteY0" fmla="*/ 142875 h 2625250"/>
                    <a:gd name="connsiteX1" fmla="*/ 3918053 w 3918053"/>
                    <a:gd name="connsiteY1" fmla="*/ 0 h 2625250"/>
                    <a:gd name="connsiteX2" fmla="*/ 3899003 w 3918053"/>
                    <a:gd name="connsiteY2" fmla="*/ 2625250 h 2625250"/>
                    <a:gd name="connsiteX3" fmla="*/ 0 w 3918053"/>
                    <a:gd name="connsiteY3" fmla="*/ 2625250 h 2625250"/>
                    <a:gd name="connsiteX4" fmla="*/ 0 w 3918053"/>
                    <a:gd name="connsiteY4" fmla="*/ 142875 h 2625250"/>
                    <a:gd name="connsiteX0" fmla="*/ 0 w 3918053"/>
                    <a:gd name="connsiteY0" fmla="*/ 238125 h 2625250"/>
                    <a:gd name="connsiteX1" fmla="*/ 3918053 w 3918053"/>
                    <a:gd name="connsiteY1" fmla="*/ 0 h 2625250"/>
                    <a:gd name="connsiteX2" fmla="*/ 3899003 w 3918053"/>
                    <a:gd name="connsiteY2" fmla="*/ 2625250 h 2625250"/>
                    <a:gd name="connsiteX3" fmla="*/ 0 w 3918053"/>
                    <a:gd name="connsiteY3" fmla="*/ 2625250 h 2625250"/>
                    <a:gd name="connsiteX4" fmla="*/ 0 w 3918053"/>
                    <a:gd name="connsiteY4" fmla="*/ 238125 h 2625250"/>
                    <a:gd name="connsiteX0" fmla="*/ 0 w 3918053"/>
                    <a:gd name="connsiteY0" fmla="*/ 161925 h 2625250"/>
                    <a:gd name="connsiteX1" fmla="*/ 3918053 w 3918053"/>
                    <a:gd name="connsiteY1" fmla="*/ 0 h 2625250"/>
                    <a:gd name="connsiteX2" fmla="*/ 3899003 w 3918053"/>
                    <a:gd name="connsiteY2" fmla="*/ 2625250 h 2625250"/>
                    <a:gd name="connsiteX3" fmla="*/ 0 w 3918053"/>
                    <a:gd name="connsiteY3" fmla="*/ 2625250 h 2625250"/>
                    <a:gd name="connsiteX4" fmla="*/ 0 w 3918053"/>
                    <a:gd name="connsiteY4" fmla="*/ 161925 h 2625250"/>
                    <a:gd name="connsiteX0" fmla="*/ 0 w 3918053"/>
                    <a:gd name="connsiteY0" fmla="*/ 161925 h 2625250"/>
                    <a:gd name="connsiteX1" fmla="*/ 3918053 w 3918053"/>
                    <a:gd name="connsiteY1" fmla="*/ 0 h 2625250"/>
                    <a:gd name="connsiteX2" fmla="*/ 3899003 w 3918053"/>
                    <a:gd name="connsiteY2" fmla="*/ 2625250 h 2625250"/>
                    <a:gd name="connsiteX3" fmla="*/ 228600 w 3918053"/>
                    <a:gd name="connsiteY3" fmla="*/ 2453800 h 2625250"/>
                    <a:gd name="connsiteX4" fmla="*/ 0 w 3918053"/>
                    <a:gd name="connsiteY4" fmla="*/ 161925 h 2625250"/>
                    <a:gd name="connsiteX0" fmla="*/ 0 w 3918053"/>
                    <a:gd name="connsiteY0" fmla="*/ 161925 h 2625250"/>
                    <a:gd name="connsiteX1" fmla="*/ 3918053 w 3918053"/>
                    <a:gd name="connsiteY1" fmla="*/ 0 h 2625250"/>
                    <a:gd name="connsiteX2" fmla="*/ 3899003 w 3918053"/>
                    <a:gd name="connsiteY2" fmla="*/ 2625250 h 2625250"/>
                    <a:gd name="connsiteX3" fmla="*/ 19050 w 3918053"/>
                    <a:gd name="connsiteY3" fmla="*/ 2339500 h 2625250"/>
                    <a:gd name="connsiteX4" fmla="*/ 0 w 3918053"/>
                    <a:gd name="connsiteY4" fmla="*/ 161925 h 2625250"/>
                    <a:gd name="connsiteX0" fmla="*/ 0 w 3918053"/>
                    <a:gd name="connsiteY0" fmla="*/ 161925 h 2339500"/>
                    <a:gd name="connsiteX1" fmla="*/ 3918053 w 3918053"/>
                    <a:gd name="connsiteY1" fmla="*/ 0 h 2339500"/>
                    <a:gd name="connsiteX2" fmla="*/ 3641828 w 3918053"/>
                    <a:gd name="connsiteY2" fmla="*/ 2234725 h 2339500"/>
                    <a:gd name="connsiteX3" fmla="*/ 19050 w 3918053"/>
                    <a:gd name="connsiteY3" fmla="*/ 2339500 h 2339500"/>
                    <a:gd name="connsiteX4" fmla="*/ 0 w 3918053"/>
                    <a:gd name="connsiteY4" fmla="*/ 161925 h 2339500"/>
                    <a:gd name="connsiteX0" fmla="*/ 0 w 3918053"/>
                    <a:gd name="connsiteY0" fmla="*/ 161925 h 2615725"/>
                    <a:gd name="connsiteX1" fmla="*/ 3918053 w 3918053"/>
                    <a:gd name="connsiteY1" fmla="*/ 0 h 2615725"/>
                    <a:gd name="connsiteX2" fmla="*/ 3889478 w 3918053"/>
                    <a:gd name="connsiteY2" fmla="*/ 2615725 h 2615725"/>
                    <a:gd name="connsiteX3" fmla="*/ 19050 w 3918053"/>
                    <a:gd name="connsiteY3" fmla="*/ 2339500 h 2615725"/>
                    <a:gd name="connsiteX4" fmla="*/ 0 w 3918053"/>
                    <a:gd name="connsiteY4" fmla="*/ 161925 h 2615725"/>
                    <a:gd name="connsiteX0" fmla="*/ 0 w 3918053"/>
                    <a:gd name="connsiteY0" fmla="*/ 161925 h 2615725"/>
                    <a:gd name="connsiteX1" fmla="*/ 3918053 w 3918053"/>
                    <a:gd name="connsiteY1" fmla="*/ 0 h 2615725"/>
                    <a:gd name="connsiteX2" fmla="*/ 3889478 w 3918053"/>
                    <a:gd name="connsiteY2" fmla="*/ 2615725 h 2615725"/>
                    <a:gd name="connsiteX3" fmla="*/ 19050 w 3918053"/>
                    <a:gd name="connsiteY3" fmla="*/ 2339500 h 2615725"/>
                    <a:gd name="connsiteX4" fmla="*/ 0 w 3918053"/>
                    <a:gd name="connsiteY4" fmla="*/ 161925 h 2615725"/>
                    <a:gd name="connsiteX0" fmla="*/ 0 w 3918053"/>
                    <a:gd name="connsiteY0" fmla="*/ 140571 h 2615725"/>
                    <a:gd name="connsiteX1" fmla="*/ 3918053 w 3918053"/>
                    <a:gd name="connsiteY1" fmla="*/ 0 h 2615725"/>
                    <a:gd name="connsiteX2" fmla="*/ 3889478 w 3918053"/>
                    <a:gd name="connsiteY2" fmla="*/ 2615725 h 2615725"/>
                    <a:gd name="connsiteX3" fmla="*/ 19050 w 3918053"/>
                    <a:gd name="connsiteY3" fmla="*/ 2339500 h 2615725"/>
                    <a:gd name="connsiteX4" fmla="*/ 0 w 3918053"/>
                    <a:gd name="connsiteY4" fmla="*/ 140571 h 2615725"/>
                    <a:gd name="connsiteX0" fmla="*/ 0 w 3922372"/>
                    <a:gd name="connsiteY0" fmla="*/ 183279 h 2615725"/>
                    <a:gd name="connsiteX1" fmla="*/ 3922372 w 3922372"/>
                    <a:gd name="connsiteY1" fmla="*/ 0 h 2615725"/>
                    <a:gd name="connsiteX2" fmla="*/ 3893797 w 3922372"/>
                    <a:gd name="connsiteY2" fmla="*/ 2615725 h 2615725"/>
                    <a:gd name="connsiteX3" fmla="*/ 23369 w 3922372"/>
                    <a:gd name="connsiteY3" fmla="*/ 2339500 h 2615725"/>
                    <a:gd name="connsiteX4" fmla="*/ 0 w 3922372"/>
                    <a:gd name="connsiteY4" fmla="*/ 183279 h 2615725"/>
                    <a:gd name="connsiteX0" fmla="*/ 0 w 3918053"/>
                    <a:gd name="connsiteY0" fmla="*/ 191821 h 2615725"/>
                    <a:gd name="connsiteX1" fmla="*/ 3918053 w 3918053"/>
                    <a:gd name="connsiteY1" fmla="*/ 0 h 2615725"/>
                    <a:gd name="connsiteX2" fmla="*/ 3889478 w 3918053"/>
                    <a:gd name="connsiteY2" fmla="*/ 2615725 h 2615725"/>
                    <a:gd name="connsiteX3" fmla="*/ 19050 w 3918053"/>
                    <a:gd name="connsiteY3" fmla="*/ 2339500 h 2615725"/>
                    <a:gd name="connsiteX4" fmla="*/ 0 w 3918053"/>
                    <a:gd name="connsiteY4" fmla="*/ 191821 h 2615725"/>
                    <a:gd name="connsiteX0" fmla="*/ 0 w 3909416"/>
                    <a:gd name="connsiteY0" fmla="*/ 157654 h 2581558"/>
                    <a:gd name="connsiteX1" fmla="*/ 3909416 w 3909416"/>
                    <a:gd name="connsiteY1" fmla="*/ 0 h 2581558"/>
                    <a:gd name="connsiteX2" fmla="*/ 3889478 w 3909416"/>
                    <a:gd name="connsiteY2" fmla="*/ 2581558 h 2581558"/>
                    <a:gd name="connsiteX3" fmla="*/ 19050 w 3909416"/>
                    <a:gd name="connsiteY3" fmla="*/ 2305333 h 2581558"/>
                    <a:gd name="connsiteX4" fmla="*/ 0 w 3909416"/>
                    <a:gd name="connsiteY4" fmla="*/ 157654 h 2581558"/>
                    <a:gd name="connsiteX0" fmla="*/ 0 w 3909416"/>
                    <a:gd name="connsiteY0" fmla="*/ 157654 h 2581558"/>
                    <a:gd name="connsiteX1" fmla="*/ 3909416 w 3909416"/>
                    <a:gd name="connsiteY1" fmla="*/ 0 h 2581558"/>
                    <a:gd name="connsiteX2" fmla="*/ 3889478 w 3909416"/>
                    <a:gd name="connsiteY2" fmla="*/ 2581558 h 2581558"/>
                    <a:gd name="connsiteX3" fmla="*/ 19050 w 3909416"/>
                    <a:gd name="connsiteY3" fmla="*/ 2305333 h 2581558"/>
                    <a:gd name="connsiteX4" fmla="*/ 0 w 3909416"/>
                    <a:gd name="connsiteY4" fmla="*/ 157654 h 2581558"/>
                    <a:gd name="connsiteX0" fmla="*/ 0 w 3909416"/>
                    <a:gd name="connsiteY0" fmla="*/ 157654 h 2517495"/>
                    <a:gd name="connsiteX1" fmla="*/ 3909416 w 3909416"/>
                    <a:gd name="connsiteY1" fmla="*/ 0 h 2517495"/>
                    <a:gd name="connsiteX2" fmla="*/ 3872204 w 3909416"/>
                    <a:gd name="connsiteY2" fmla="*/ 2517495 h 2517495"/>
                    <a:gd name="connsiteX3" fmla="*/ 19050 w 3909416"/>
                    <a:gd name="connsiteY3" fmla="*/ 2305333 h 2517495"/>
                    <a:gd name="connsiteX4" fmla="*/ 0 w 3909416"/>
                    <a:gd name="connsiteY4" fmla="*/ 157654 h 2517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9416" h="2517495">
                      <a:moveTo>
                        <a:pt x="0" y="157654"/>
                      </a:moveTo>
                      <a:lnTo>
                        <a:pt x="3909416" y="0"/>
                      </a:lnTo>
                      <a:lnTo>
                        <a:pt x="3872204" y="2517495"/>
                      </a:lnTo>
                      <a:lnTo>
                        <a:pt x="19050" y="2305333"/>
                      </a:lnTo>
                      <a:lnTo>
                        <a:pt x="0" y="157654"/>
                      </a:lnTo>
                      <a:close/>
                    </a:path>
                  </a:pathLst>
                </a:custGeom>
                <a:blipFill dpi="0" rotWithShape="1">
                  <a:blip r:embed="rId10"/>
                  <a:srcRect/>
                  <a:stretch>
                    <a:fillRect/>
                  </a:stretch>
                </a:blipFill>
                <a:ln>
                  <a:noFill/>
                </a:ln>
                <a:scene3d>
                  <a:camera prst="perspectiveHeroicExtremeLeftFacing"/>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TN" dirty="0">
                    <a:solidFill>
                      <a:schemeClr val="bg1"/>
                    </a:solidFill>
                  </a:endParaRPr>
                </a:p>
              </p:txBody>
            </p:sp>
          </p:grpSp>
        </p:grpSp>
      </p:grpSp>
      <p:grpSp>
        <p:nvGrpSpPr>
          <p:cNvPr id="2" name="Group 71">
            <a:extLst>
              <a:ext uri="{FF2B5EF4-FFF2-40B4-BE49-F238E27FC236}">
                <a16:creationId xmlns:a16="http://schemas.microsoft.com/office/drawing/2014/main" id="{BC4154F6-DA67-0CB0-304E-A0C7B7F4A3A4}"/>
              </a:ext>
            </a:extLst>
          </p:cNvPr>
          <p:cNvGrpSpPr/>
          <p:nvPr/>
        </p:nvGrpSpPr>
        <p:grpSpPr>
          <a:xfrm>
            <a:off x="2901952" y="2953466"/>
            <a:ext cx="2616914" cy="951068"/>
            <a:chOff x="709573" y="5462792"/>
            <a:chExt cx="3035300" cy="1103122"/>
          </a:xfrm>
        </p:grpSpPr>
        <p:sp>
          <p:nvSpPr>
            <p:cNvPr id="3" name="Rounded Rectangle 95">
              <a:extLst>
                <a:ext uri="{FF2B5EF4-FFF2-40B4-BE49-F238E27FC236}">
                  <a16:creationId xmlns:a16="http://schemas.microsoft.com/office/drawing/2014/main" id="{21019F05-E14A-2028-DD39-87CF86C4A4CE}"/>
                </a:ext>
              </a:extLst>
            </p:cNvPr>
            <p:cNvSpPr/>
            <p:nvPr/>
          </p:nvSpPr>
          <p:spPr>
            <a:xfrm>
              <a:off x="709573" y="5462792"/>
              <a:ext cx="3035300" cy="1103122"/>
            </a:xfrm>
            <a:prstGeom prst="roundRect">
              <a:avLst>
                <a:gd name="adj" fmla="val 10323"/>
              </a:avLst>
            </a:prstGeom>
            <a:solidFill>
              <a:schemeClr val="bg1">
                <a:alpha val="1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900" i="0" u="none" strike="noStrike" kern="1200" cap="none" spc="3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 name="TextBox 13">
              <a:extLst>
                <a:ext uri="{FF2B5EF4-FFF2-40B4-BE49-F238E27FC236}">
                  <a16:creationId xmlns:a16="http://schemas.microsoft.com/office/drawing/2014/main" id="{A6EA0983-209B-1FE9-9BFF-E7CABB8B0148}"/>
                </a:ext>
              </a:extLst>
            </p:cNvPr>
            <p:cNvSpPr txBox="1"/>
            <p:nvPr/>
          </p:nvSpPr>
          <p:spPr>
            <a:xfrm>
              <a:off x="874390" y="5820978"/>
              <a:ext cx="2774196" cy="520452"/>
            </a:xfrm>
            <a:prstGeom prst="rect">
              <a:avLst/>
            </a:prstGeom>
            <a:noFill/>
          </p:spPr>
          <p:txBody>
            <a:bodyPr wrap="square" lIns="0" tIns="0" rIns="0" bIns="0" anchor="t">
              <a:spAutoFit/>
            </a:bodyPr>
            <a:lstStyle>
              <a:defPPr>
                <a:defRPr lang="en-US"/>
              </a:defPPr>
              <a:lvl1pPr marR="0" lvl="0" indent="0" fontAlgn="auto">
                <a:lnSpc>
                  <a:spcPct val="8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cs typeface="Poppins SemiBold" panose="00000700000000000000" pitchFamily="2" charset="0"/>
                </a:defRPr>
              </a:lvl1pPr>
            </a:lstStyle>
            <a:p>
              <a:pPr algn="ctr" fontAlgn="base"/>
              <a:r>
                <a:rPr lang="fr-FR" sz="1800" b="1" dirty="0">
                  <a:solidFill>
                    <a:schemeClr val="bg1"/>
                  </a:solidFill>
                  <a:cs typeface="Arial" panose="020B0604020202020204" pitchFamily="34" charset="0"/>
                </a:rPr>
                <a:t>Réservation instantanée &amp; sécurisée</a:t>
              </a:r>
            </a:p>
          </p:txBody>
        </p:sp>
      </p:grpSp>
      <p:sp>
        <p:nvSpPr>
          <p:cNvPr id="7" name="Rectangle 6">
            <a:extLst>
              <a:ext uri="{FF2B5EF4-FFF2-40B4-BE49-F238E27FC236}">
                <a16:creationId xmlns:a16="http://schemas.microsoft.com/office/drawing/2014/main" id="{092DDFDB-2F52-4FE2-8FB8-6FC51CC39AC4}"/>
              </a:ext>
            </a:extLst>
          </p:cNvPr>
          <p:cNvSpPr/>
          <p:nvPr/>
        </p:nvSpPr>
        <p:spPr>
          <a:xfrm>
            <a:off x="11644612" y="6185789"/>
            <a:ext cx="324096" cy="646331"/>
          </a:xfrm>
          <a:prstGeom prst="rect">
            <a:avLst/>
          </a:prstGeom>
          <a:noFill/>
        </p:spPr>
        <p:txBody>
          <a:bodyPr wrap="square" lIns="91440" tIns="45720" rIns="91440" bIns="45720">
            <a:spAutoFit/>
          </a:bodyPr>
          <a:lstStyle/>
          <a:p>
            <a:pPr algn="ctr"/>
            <a:r>
              <a:rPr lang="en-US" sz="36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2</a:t>
            </a:r>
            <a:endParaRPr lang="en-US" sz="48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16815574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0" y="2346137"/>
            <a:ext cx="12192000" cy="1808508"/>
          </a:xfrm>
          <a:prstGeom prst="rect">
            <a:avLst/>
          </a:prstGeom>
          <a:noFill/>
        </p:spPr>
        <p:txBody>
          <a:bodyPr wrap="square" rtlCol="0">
            <a:spAutoFit/>
          </a:bodyPr>
          <a:lstStyle/>
          <a:p>
            <a:pPr lvl="0" algn="ctr">
              <a:lnSpc>
                <a:spcPct val="80000"/>
              </a:lnSpc>
              <a:defRPr/>
            </a:pPr>
            <a:r>
              <a:rPr lang="fr-FR" sz="13600" dirty="0">
                <a:solidFill>
                  <a:schemeClr val="bg1"/>
                </a:solidFill>
              </a:rPr>
              <a:t>Objectifs</a:t>
            </a:r>
            <a:endParaRPr kumimoji="0" lang="en-US" sz="13600" b="0" i="0" u="none" strike="noStrike" kern="0" cap="none" spc="0" normalizeH="0" baseline="0" noProof="0" dirty="0">
              <a:ln>
                <a:noFill/>
              </a:ln>
              <a:solidFill>
                <a:schemeClr val="bg1"/>
              </a:solidFill>
              <a:effectLst/>
              <a:uLnTx/>
              <a:uFillTx/>
              <a:latin typeface="Darker Grotesque" pitchFamily="2" charset="0"/>
            </a:endParaRPr>
          </a:p>
        </p:txBody>
      </p:sp>
    </p:spTree>
    <p:extLst>
      <p:ext uri="{BB962C8B-B14F-4D97-AF65-F5344CB8AC3E}">
        <p14:creationId xmlns:p14="http://schemas.microsoft.com/office/powerpoint/2010/main" val="1337661170"/>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1659467" y="1173671"/>
            <a:ext cx="8873066" cy="254787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Solution</a:t>
            </a:r>
          </a:p>
        </p:txBody>
      </p:sp>
      <p:sp>
        <p:nvSpPr>
          <p:cNvPr id="2" name="TextBox 1">
            <a:extLst>
              <a:ext uri="{FF2B5EF4-FFF2-40B4-BE49-F238E27FC236}">
                <a16:creationId xmlns:a16="http://schemas.microsoft.com/office/drawing/2014/main" id="{261C56D4-6002-E420-A227-B49CA7DB3AE7}"/>
              </a:ext>
            </a:extLst>
          </p:cNvPr>
          <p:cNvSpPr txBox="1"/>
          <p:nvPr/>
        </p:nvSpPr>
        <p:spPr>
          <a:xfrm>
            <a:off x="1060025" y="3183174"/>
            <a:ext cx="9847352" cy="255300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Proposée</a:t>
            </a:r>
          </a:p>
        </p:txBody>
      </p:sp>
    </p:spTree>
    <p:extLst>
      <p:ext uri="{BB962C8B-B14F-4D97-AF65-F5344CB8AC3E}">
        <p14:creationId xmlns:p14="http://schemas.microsoft.com/office/powerpoint/2010/main" val="3576960306"/>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E67E7352-B98C-2C21-BAFE-0E927185B1A7}"/>
              </a:ext>
            </a:extLst>
          </p:cNvPr>
          <p:cNvSpPr txBox="1"/>
          <p:nvPr/>
        </p:nvSpPr>
        <p:spPr>
          <a:xfrm>
            <a:off x="299484" y="407551"/>
            <a:ext cx="831959"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err="1">
                <a:ln>
                  <a:noFill/>
                </a:ln>
                <a:solidFill>
                  <a:prstClr val="white"/>
                </a:solidFill>
                <a:effectLst/>
                <a:uLnTx/>
                <a:uFillTx/>
                <a:latin typeface="Darker Grotesque" pitchFamily="2" charset="0"/>
              </a:rPr>
              <a:t>Objectifs</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grpSp>
        <p:nvGrpSpPr>
          <p:cNvPr id="28" name="Group 27">
            <a:extLst>
              <a:ext uri="{FF2B5EF4-FFF2-40B4-BE49-F238E27FC236}">
                <a16:creationId xmlns:a16="http://schemas.microsoft.com/office/drawing/2014/main" id="{0F3576EF-148D-4A7A-BD98-51879695CEED}"/>
              </a:ext>
            </a:extLst>
          </p:cNvPr>
          <p:cNvGrpSpPr/>
          <p:nvPr/>
        </p:nvGrpSpPr>
        <p:grpSpPr>
          <a:xfrm>
            <a:off x="299484" y="369986"/>
            <a:ext cx="11644423" cy="488234"/>
            <a:chOff x="299484" y="369986"/>
            <a:chExt cx="11644423" cy="507586"/>
          </a:xfrm>
        </p:grpSpPr>
        <p:cxnSp>
          <p:nvCxnSpPr>
            <p:cNvPr id="16" name="Straight Connector 15">
              <a:extLst>
                <a:ext uri="{FF2B5EF4-FFF2-40B4-BE49-F238E27FC236}">
                  <a16:creationId xmlns:a16="http://schemas.microsoft.com/office/drawing/2014/main" id="{22AC9991-262E-EF14-2026-D6AF9586B7A9}"/>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26" name="Oval 25">
              <a:extLst>
                <a:ext uri="{FF2B5EF4-FFF2-40B4-BE49-F238E27FC236}">
                  <a16:creationId xmlns:a16="http://schemas.microsoft.com/office/drawing/2014/main" id="{2A2DCA69-B059-83DD-8D11-155A7B88EF96}"/>
                </a:ext>
              </a:extLst>
            </p:cNvPr>
            <p:cNvSpPr/>
            <p:nvPr/>
          </p:nvSpPr>
          <p:spPr>
            <a:xfrm>
              <a:off x="5842207" y="369986"/>
              <a:ext cx="507586" cy="507586"/>
            </a:xfrm>
            <a:prstGeom prst="ellipse">
              <a:avLst/>
            </a:prstGeom>
            <a:solidFill>
              <a:srgbClr val="002060"/>
            </a:solid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grpSp>
      <p:pic>
        <p:nvPicPr>
          <p:cNvPr id="21" name="Graphic 20">
            <a:extLst>
              <a:ext uri="{FF2B5EF4-FFF2-40B4-BE49-F238E27FC236}">
                <a16:creationId xmlns:a16="http://schemas.microsoft.com/office/drawing/2014/main" id="{3854590F-A0BA-4AB4-AE5C-E688C2F6D75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970000" y="500108"/>
            <a:ext cx="252000" cy="252000"/>
          </a:xfrm>
          <a:prstGeom prst="rect">
            <a:avLst/>
          </a:prstGeom>
        </p:spPr>
      </p:pic>
      <p:sp>
        <p:nvSpPr>
          <p:cNvPr id="2" name="Title 1">
            <a:extLst>
              <a:ext uri="{FF2B5EF4-FFF2-40B4-BE49-F238E27FC236}">
                <a16:creationId xmlns:a16="http://schemas.microsoft.com/office/drawing/2014/main" id="{4B33D8D4-9DE1-BAC9-8973-ED6744354CA9}"/>
              </a:ext>
            </a:extLst>
          </p:cNvPr>
          <p:cNvSpPr>
            <a:spLocks noGrp="1"/>
          </p:cNvSpPr>
          <p:nvPr/>
        </p:nvSpPr>
        <p:spPr>
          <a:xfrm>
            <a:off x="668980" y="621155"/>
            <a:ext cx="11353800" cy="739056"/>
          </a:xfrm>
          <a:prstGeom prst="rect">
            <a:avLst/>
          </a:prstGeom>
        </p:spPr>
        <p:txBody>
          <a:bodyPr rIns="0">
            <a:normAutofit/>
          </a:bodyPr>
          <a:lstStyle>
            <a:lvl1pPr algn="l" defTabSz="914400" rtl="0" eaLnBrk="1" latinLnBrk="0" hangingPunct="1">
              <a:lnSpc>
                <a:spcPct val="90000"/>
              </a:lnSpc>
              <a:spcBef>
                <a:spcPct val="0"/>
              </a:spcBef>
              <a:buNone/>
              <a:defRPr lang="en-US" sz="3600" b="1" kern="1200">
                <a:solidFill>
                  <a:schemeClr val="tx1"/>
                </a:solidFill>
                <a:latin typeface="Helvetica" panose="020B0500000000000000" pitchFamily="34" charset="0"/>
                <a:ea typeface="+mj-ea"/>
                <a:cs typeface="+mj-cs"/>
              </a:defRPr>
            </a:lvl1pPr>
          </a:lstStyle>
          <a:p>
            <a:endParaRPr lang="en-US" dirty="0"/>
          </a:p>
        </p:txBody>
      </p:sp>
      <p:grpSp>
        <p:nvGrpSpPr>
          <p:cNvPr id="3" name="Group 2">
            <a:extLst>
              <a:ext uri="{FF2B5EF4-FFF2-40B4-BE49-F238E27FC236}">
                <a16:creationId xmlns:a16="http://schemas.microsoft.com/office/drawing/2014/main" id="{AA18D49F-69AA-278F-35C6-1F0E257F611B}"/>
              </a:ext>
            </a:extLst>
          </p:cNvPr>
          <p:cNvGrpSpPr/>
          <p:nvPr/>
        </p:nvGrpSpPr>
        <p:grpSpPr>
          <a:xfrm>
            <a:off x="3529659" y="1568367"/>
            <a:ext cx="4794242" cy="4636614"/>
            <a:chOff x="3855785" y="1713461"/>
            <a:chExt cx="4480430" cy="4333119"/>
          </a:xfrm>
        </p:grpSpPr>
        <p:sp>
          <p:nvSpPr>
            <p:cNvPr id="40" name="Freeform: Shape 3">
              <a:extLst>
                <a:ext uri="{FF2B5EF4-FFF2-40B4-BE49-F238E27FC236}">
                  <a16:creationId xmlns:a16="http://schemas.microsoft.com/office/drawing/2014/main" id="{671EA5AE-D547-4D42-0DBF-701A9F0723C3}"/>
                </a:ext>
              </a:extLst>
            </p:cNvPr>
            <p:cNvSpPr/>
            <p:nvPr/>
          </p:nvSpPr>
          <p:spPr>
            <a:xfrm>
              <a:off x="5360684" y="1713461"/>
              <a:ext cx="1470630" cy="1470630"/>
            </a:xfrm>
            <a:custGeom>
              <a:avLst/>
              <a:gdLst>
                <a:gd name="connsiteX0" fmla="*/ 0 w 1475860"/>
                <a:gd name="connsiteY0" fmla="*/ 737930 h 1475860"/>
                <a:gd name="connsiteX1" fmla="*/ 737930 w 1475860"/>
                <a:gd name="connsiteY1" fmla="*/ 0 h 1475860"/>
                <a:gd name="connsiteX2" fmla="*/ 1475860 w 1475860"/>
                <a:gd name="connsiteY2" fmla="*/ 737930 h 1475860"/>
                <a:gd name="connsiteX3" fmla="*/ 737930 w 1475860"/>
                <a:gd name="connsiteY3" fmla="*/ 1475860 h 1475860"/>
                <a:gd name="connsiteX4" fmla="*/ 0 w 1475860"/>
                <a:gd name="connsiteY4" fmla="*/ 737930 h 1475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860" h="1475860">
                  <a:moveTo>
                    <a:pt x="0" y="737930"/>
                  </a:moveTo>
                  <a:cubicBezTo>
                    <a:pt x="0" y="330383"/>
                    <a:pt x="330383" y="0"/>
                    <a:pt x="737930" y="0"/>
                  </a:cubicBezTo>
                  <a:cubicBezTo>
                    <a:pt x="1145477" y="0"/>
                    <a:pt x="1475860" y="330383"/>
                    <a:pt x="1475860" y="737930"/>
                  </a:cubicBezTo>
                  <a:cubicBezTo>
                    <a:pt x="1475860" y="1145477"/>
                    <a:pt x="1145477" y="1475860"/>
                    <a:pt x="737930" y="1475860"/>
                  </a:cubicBezTo>
                  <a:cubicBezTo>
                    <a:pt x="330383" y="1475860"/>
                    <a:pt x="0" y="1145477"/>
                    <a:pt x="0" y="737930"/>
                  </a:cubicBezTo>
                  <a:close/>
                </a:path>
              </a:pathLst>
            </a:custGeom>
            <a:solidFill>
              <a:schemeClr val="bg2">
                <a:lumMod val="90000"/>
              </a:schemeClr>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000">
                <a:solidFill>
                  <a:srgbClr val="FFFFFF"/>
                </a:solidFill>
              </a:endParaRPr>
            </a:p>
          </p:txBody>
        </p:sp>
        <p:sp>
          <p:nvSpPr>
            <p:cNvPr id="41" name="Freeform: Shape 4">
              <a:extLst>
                <a:ext uri="{FF2B5EF4-FFF2-40B4-BE49-F238E27FC236}">
                  <a16:creationId xmlns:a16="http://schemas.microsoft.com/office/drawing/2014/main" id="{133B361C-7EA2-B1A6-2087-FE926B596E49}"/>
                </a:ext>
              </a:extLst>
            </p:cNvPr>
            <p:cNvSpPr/>
            <p:nvPr/>
          </p:nvSpPr>
          <p:spPr>
            <a:xfrm>
              <a:off x="6865585" y="2806834"/>
              <a:ext cx="1470630" cy="1470630"/>
            </a:xfrm>
            <a:custGeom>
              <a:avLst/>
              <a:gdLst>
                <a:gd name="connsiteX0" fmla="*/ 0 w 1475860"/>
                <a:gd name="connsiteY0" fmla="*/ 737930 h 1475860"/>
                <a:gd name="connsiteX1" fmla="*/ 737930 w 1475860"/>
                <a:gd name="connsiteY1" fmla="*/ 0 h 1475860"/>
                <a:gd name="connsiteX2" fmla="*/ 1475860 w 1475860"/>
                <a:gd name="connsiteY2" fmla="*/ 737930 h 1475860"/>
                <a:gd name="connsiteX3" fmla="*/ 737930 w 1475860"/>
                <a:gd name="connsiteY3" fmla="*/ 1475860 h 1475860"/>
                <a:gd name="connsiteX4" fmla="*/ 0 w 1475860"/>
                <a:gd name="connsiteY4" fmla="*/ 737930 h 1475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860" h="1475860">
                  <a:moveTo>
                    <a:pt x="0" y="737930"/>
                  </a:moveTo>
                  <a:cubicBezTo>
                    <a:pt x="0" y="330383"/>
                    <a:pt x="330383" y="0"/>
                    <a:pt x="737930" y="0"/>
                  </a:cubicBezTo>
                  <a:cubicBezTo>
                    <a:pt x="1145477" y="0"/>
                    <a:pt x="1475860" y="330383"/>
                    <a:pt x="1475860" y="737930"/>
                  </a:cubicBezTo>
                  <a:cubicBezTo>
                    <a:pt x="1475860" y="1145477"/>
                    <a:pt x="1145477" y="1475860"/>
                    <a:pt x="737930" y="1475860"/>
                  </a:cubicBezTo>
                  <a:cubicBezTo>
                    <a:pt x="330383" y="1475860"/>
                    <a:pt x="0" y="1145477"/>
                    <a:pt x="0" y="737930"/>
                  </a:cubicBezTo>
                  <a:close/>
                </a:path>
              </a:pathLst>
            </a:custGeom>
            <a:solidFill>
              <a:schemeClr val="bg2">
                <a:lumMod val="90000"/>
              </a:schemeClr>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000" dirty="0">
                <a:solidFill>
                  <a:srgbClr val="FFFFFF"/>
                </a:solidFill>
              </a:endParaRPr>
            </a:p>
          </p:txBody>
        </p:sp>
        <p:sp>
          <p:nvSpPr>
            <p:cNvPr id="42" name="Freeform: Shape 5">
              <a:extLst>
                <a:ext uri="{FF2B5EF4-FFF2-40B4-BE49-F238E27FC236}">
                  <a16:creationId xmlns:a16="http://schemas.microsoft.com/office/drawing/2014/main" id="{24C51387-83CB-15CA-B9BE-96F4E00F9C2D}"/>
                </a:ext>
              </a:extLst>
            </p:cNvPr>
            <p:cNvSpPr/>
            <p:nvPr/>
          </p:nvSpPr>
          <p:spPr>
            <a:xfrm>
              <a:off x="6290764" y="4575950"/>
              <a:ext cx="1470630" cy="1470630"/>
            </a:xfrm>
            <a:custGeom>
              <a:avLst/>
              <a:gdLst>
                <a:gd name="connsiteX0" fmla="*/ 0 w 1475860"/>
                <a:gd name="connsiteY0" fmla="*/ 737930 h 1475860"/>
                <a:gd name="connsiteX1" fmla="*/ 737930 w 1475860"/>
                <a:gd name="connsiteY1" fmla="*/ 0 h 1475860"/>
                <a:gd name="connsiteX2" fmla="*/ 1475860 w 1475860"/>
                <a:gd name="connsiteY2" fmla="*/ 737930 h 1475860"/>
                <a:gd name="connsiteX3" fmla="*/ 737930 w 1475860"/>
                <a:gd name="connsiteY3" fmla="*/ 1475860 h 1475860"/>
                <a:gd name="connsiteX4" fmla="*/ 0 w 1475860"/>
                <a:gd name="connsiteY4" fmla="*/ 737930 h 1475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860" h="1475860">
                  <a:moveTo>
                    <a:pt x="0" y="737930"/>
                  </a:moveTo>
                  <a:cubicBezTo>
                    <a:pt x="0" y="330383"/>
                    <a:pt x="330383" y="0"/>
                    <a:pt x="737930" y="0"/>
                  </a:cubicBezTo>
                  <a:cubicBezTo>
                    <a:pt x="1145477" y="0"/>
                    <a:pt x="1475860" y="330383"/>
                    <a:pt x="1475860" y="737930"/>
                  </a:cubicBezTo>
                  <a:cubicBezTo>
                    <a:pt x="1475860" y="1145477"/>
                    <a:pt x="1145477" y="1475860"/>
                    <a:pt x="737930" y="1475860"/>
                  </a:cubicBezTo>
                  <a:cubicBezTo>
                    <a:pt x="330383" y="1475860"/>
                    <a:pt x="0" y="1145477"/>
                    <a:pt x="0" y="737930"/>
                  </a:cubicBezTo>
                  <a:close/>
                </a:path>
              </a:pathLst>
            </a:custGeom>
            <a:solidFill>
              <a:schemeClr val="bg2">
                <a:lumMod val="90000"/>
              </a:schemeClr>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000">
                <a:solidFill>
                  <a:srgbClr val="FFFFFF"/>
                </a:solidFill>
              </a:endParaRPr>
            </a:p>
          </p:txBody>
        </p:sp>
        <p:sp>
          <p:nvSpPr>
            <p:cNvPr id="43" name="Freeform: Shape 6">
              <a:extLst>
                <a:ext uri="{FF2B5EF4-FFF2-40B4-BE49-F238E27FC236}">
                  <a16:creationId xmlns:a16="http://schemas.microsoft.com/office/drawing/2014/main" id="{A78600F8-3EC0-0CE0-4307-EADD695520AF}"/>
                </a:ext>
              </a:extLst>
            </p:cNvPr>
            <p:cNvSpPr/>
            <p:nvPr/>
          </p:nvSpPr>
          <p:spPr>
            <a:xfrm>
              <a:off x="4430606" y="4575950"/>
              <a:ext cx="1470630" cy="1470630"/>
            </a:xfrm>
            <a:custGeom>
              <a:avLst/>
              <a:gdLst>
                <a:gd name="connsiteX0" fmla="*/ 0 w 1475860"/>
                <a:gd name="connsiteY0" fmla="*/ 737930 h 1475860"/>
                <a:gd name="connsiteX1" fmla="*/ 737930 w 1475860"/>
                <a:gd name="connsiteY1" fmla="*/ 0 h 1475860"/>
                <a:gd name="connsiteX2" fmla="*/ 1475860 w 1475860"/>
                <a:gd name="connsiteY2" fmla="*/ 737930 h 1475860"/>
                <a:gd name="connsiteX3" fmla="*/ 737930 w 1475860"/>
                <a:gd name="connsiteY3" fmla="*/ 1475860 h 1475860"/>
                <a:gd name="connsiteX4" fmla="*/ 0 w 1475860"/>
                <a:gd name="connsiteY4" fmla="*/ 737930 h 1475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860" h="1475860">
                  <a:moveTo>
                    <a:pt x="0" y="737930"/>
                  </a:moveTo>
                  <a:cubicBezTo>
                    <a:pt x="0" y="330383"/>
                    <a:pt x="330383" y="0"/>
                    <a:pt x="737930" y="0"/>
                  </a:cubicBezTo>
                  <a:cubicBezTo>
                    <a:pt x="1145477" y="0"/>
                    <a:pt x="1475860" y="330383"/>
                    <a:pt x="1475860" y="737930"/>
                  </a:cubicBezTo>
                  <a:cubicBezTo>
                    <a:pt x="1475860" y="1145477"/>
                    <a:pt x="1145477" y="1475860"/>
                    <a:pt x="737930" y="1475860"/>
                  </a:cubicBezTo>
                  <a:cubicBezTo>
                    <a:pt x="330383" y="1475860"/>
                    <a:pt x="0" y="1145477"/>
                    <a:pt x="0" y="737930"/>
                  </a:cubicBezTo>
                  <a:close/>
                </a:path>
              </a:pathLst>
            </a:custGeom>
            <a:solidFill>
              <a:schemeClr val="bg2">
                <a:lumMod val="90000"/>
              </a:schemeClr>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000">
                <a:solidFill>
                  <a:srgbClr val="FFFFFF"/>
                </a:solidFill>
              </a:endParaRPr>
            </a:p>
          </p:txBody>
        </p:sp>
        <p:sp>
          <p:nvSpPr>
            <p:cNvPr id="44" name="Freeform: Shape 7">
              <a:extLst>
                <a:ext uri="{FF2B5EF4-FFF2-40B4-BE49-F238E27FC236}">
                  <a16:creationId xmlns:a16="http://schemas.microsoft.com/office/drawing/2014/main" id="{10C9C56B-877C-B478-9278-6FBFA76689F6}"/>
                </a:ext>
              </a:extLst>
            </p:cNvPr>
            <p:cNvSpPr/>
            <p:nvPr/>
          </p:nvSpPr>
          <p:spPr>
            <a:xfrm>
              <a:off x="3855785" y="2806834"/>
              <a:ext cx="1470630" cy="1470630"/>
            </a:xfrm>
            <a:custGeom>
              <a:avLst/>
              <a:gdLst>
                <a:gd name="connsiteX0" fmla="*/ 0 w 1475860"/>
                <a:gd name="connsiteY0" fmla="*/ 737930 h 1475860"/>
                <a:gd name="connsiteX1" fmla="*/ 737930 w 1475860"/>
                <a:gd name="connsiteY1" fmla="*/ 0 h 1475860"/>
                <a:gd name="connsiteX2" fmla="*/ 1475860 w 1475860"/>
                <a:gd name="connsiteY2" fmla="*/ 737930 h 1475860"/>
                <a:gd name="connsiteX3" fmla="*/ 737930 w 1475860"/>
                <a:gd name="connsiteY3" fmla="*/ 1475860 h 1475860"/>
                <a:gd name="connsiteX4" fmla="*/ 0 w 1475860"/>
                <a:gd name="connsiteY4" fmla="*/ 737930 h 1475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860" h="1475860">
                  <a:moveTo>
                    <a:pt x="0" y="737930"/>
                  </a:moveTo>
                  <a:cubicBezTo>
                    <a:pt x="0" y="330383"/>
                    <a:pt x="330383" y="0"/>
                    <a:pt x="737930" y="0"/>
                  </a:cubicBezTo>
                  <a:cubicBezTo>
                    <a:pt x="1145477" y="0"/>
                    <a:pt x="1475860" y="330383"/>
                    <a:pt x="1475860" y="737930"/>
                  </a:cubicBezTo>
                  <a:cubicBezTo>
                    <a:pt x="1475860" y="1145477"/>
                    <a:pt x="1145477" y="1475860"/>
                    <a:pt x="737930" y="1475860"/>
                  </a:cubicBezTo>
                  <a:cubicBezTo>
                    <a:pt x="330383" y="1475860"/>
                    <a:pt x="0" y="1145477"/>
                    <a:pt x="0" y="737930"/>
                  </a:cubicBezTo>
                  <a:close/>
                </a:path>
              </a:pathLst>
            </a:custGeom>
            <a:solidFill>
              <a:schemeClr val="bg2">
                <a:lumMod val="90000"/>
              </a:schemeClr>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000">
                <a:solidFill>
                  <a:srgbClr val="FFFFFF"/>
                </a:solidFill>
              </a:endParaRPr>
            </a:p>
          </p:txBody>
        </p:sp>
      </p:grpSp>
      <p:sp>
        <p:nvSpPr>
          <p:cNvPr id="4" name="Freeform: Shape 8">
            <a:extLst>
              <a:ext uri="{FF2B5EF4-FFF2-40B4-BE49-F238E27FC236}">
                <a16:creationId xmlns:a16="http://schemas.microsoft.com/office/drawing/2014/main" id="{33CCAE7E-D31A-3A08-79EE-6133F8F819ED}"/>
              </a:ext>
            </a:extLst>
          </p:cNvPr>
          <p:cNvSpPr/>
          <p:nvPr/>
        </p:nvSpPr>
        <p:spPr>
          <a:xfrm>
            <a:off x="4444107" y="4631346"/>
            <a:ext cx="1274269" cy="1060784"/>
          </a:xfrm>
          <a:custGeom>
            <a:avLst/>
            <a:gdLst>
              <a:gd name="connsiteX0" fmla="*/ 487452 w 1274269"/>
              <a:gd name="connsiteY0" fmla="*/ 0 h 1060784"/>
              <a:gd name="connsiteX1" fmla="*/ 1274269 w 1274269"/>
              <a:gd name="connsiteY1" fmla="*/ 786817 h 1060784"/>
              <a:gd name="connsiteX2" fmla="*/ 1258284 w 1274269"/>
              <a:gd name="connsiteY2" fmla="*/ 945388 h 1060784"/>
              <a:gd name="connsiteX3" fmla="*/ 1222463 w 1274269"/>
              <a:gd name="connsiteY3" fmla="*/ 1060784 h 1060784"/>
              <a:gd name="connsiteX4" fmla="*/ 1147036 w 1274269"/>
              <a:gd name="connsiteY4" fmla="*/ 1049272 h 1060784"/>
              <a:gd name="connsiteX5" fmla="*/ 18275 w 1274269"/>
              <a:gd name="connsiteY5" fmla="*/ 211534 h 1060784"/>
              <a:gd name="connsiteX6" fmla="*/ 0 w 1274269"/>
              <a:gd name="connsiteY6" fmla="*/ 173597 h 1060784"/>
              <a:gd name="connsiteX7" fmla="*/ 47536 w 1274269"/>
              <a:gd name="connsiteY7" fmla="*/ 134376 h 1060784"/>
              <a:gd name="connsiteX8" fmla="*/ 487452 w 1274269"/>
              <a:gd name="connsiteY8" fmla="*/ 0 h 1060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4269" h="1060784">
                <a:moveTo>
                  <a:pt x="487452" y="0"/>
                </a:moveTo>
                <a:cubicBezTo>
                  <a:pt x="921999" y="0"/>
                  <a:pt x="1274269" y="352271"/>
                  <a:pt x="1274269" y="786817"/>
                </a:cubicBezTo>
                <a:cubicBezTo>
                  <a:pt x="1274269" y="841136"/>
                  <a:pt x="1268765" y="894168"/>
                  <a:pt x="1258284" y="945388"/>
                </a:cubicBezTo>
                <a:lnTo>
                  <a:pt x="1222463" y="1060784"/>
                </a:lnTo>
                <a:lnTo>
                  <a:pt x="1147036" y="1049272"/>
                </a:lnTo>
                <a:cubicBezTo>
                  <a:pt x="659175" y="949441"/>
                  <a:pt x="249017" y="636292"/>
                  <a:pt x="18275" y="211534"/>
                </a:cubicBezTo>
                <a:lnTo>
                  <a:pt x="0" y="173597"/>
                </a:lnTo>
                <a:lnTo>
                  <a:pt x="47536" y="134376"/>
                </a:lnTo>
                <a:cubicBezTo>
                  <a:pt x="173112" y="49538"/>
                  <a:pt x="324497" y="0"/>
                  <a:pt x="487452" y="0"/>
                </a:cubicBezTo>
                <a:close/>
              </a:path>
            </a:pathLst>
          </a:custGeom>
          <a:solidFill>
            <a:schemeClr val="accent4"/>
          </a:solidFill>
          <a:ln w="12700">
            <a:miter lim="400000"/>
          </a:ln>
        </p:spPr>
        <p:txBody>
          <a:bodyPr wrap="square" lIns="27432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000" b="1" dirty="0">
                <a:solidFill>
                  <a:srgbClr val="FFFFFF"/>
                </a:solidFill>
              </a:rPr>
              <a:t>04</a:t>
            </a:r>
          </a:p>
        </p:txBody>
      </p:sp>
      <p:sp>
        <p:nvSpPr>
          <p:cNvPr id="5" name="Freeform: Shape 9">
            <a:extLst>
              <a:ext uri="{FF2B5EF4-FFF2-40B4-BE49-F238E27FC236}">
                <a16:creationId xmlns:a16="http://schemas.microsoft.com/office/drawing/2014/main" id="{C3B2D50D-DABA-CF8B-A116-A208FAA56AC2}"/>
              </a:ext>
            </a:extLst>
          </p:cNvPr>
          <p:cNvSpPr/>
          <p:nvPr/>
        </p:nvSpPr>
        <p:spPr>
          <a:xfrm>
            <a:off x="4261377" y="2869766"/>
            <a:ext cx="841917" cy="1442188"/>
          </a:xfrm>
          <a:custGeom>
            <a:avLst/>
            <a:gdLst>
              <a:gd name="connsiteX0" fmla="*/ 489619 w 841917"/>
              <a:gd name="connsiteY0" fmla="*/ 0 h 1442188"/>
              <a:gd name="connsiteX1" fmla="*/ 495017 w 841917"/>
              <a:gd name="connsiteY1" fmla="*/ 2930 h 1442188"/>
              <a:gd name="connsiteX2" fmla="*/ 841917 w 841917"/>
              <a:gd name="connsiteY2" fmla="*/ 655371 h 1442188"/>
              <a:gd name="connsiteX3" fmla="*/ 55100 w 841917"/>
              <a:gd name="connsiteY3" fmla="*/ 1442188 h 1442188"/>
              <a:gd name="connsiteX4" fmla="*/ 22484 w 841917"/>
              <a:gd name="connsiteY4" fmla="*/ 1440541 h 1442188"/>
              <a:gd name="connsiteX5" fmla="*/ 8599 w 841917"/>
              <a:gd name="connsiteY5" fmla="*/ 1349562 h 1442188"/>
              <a:gd name="connsiteX6" fmla="*/ 0 w 841917"/>
              <a:gd name="connsiteY6" fmla="*/ 1179284 h 1442188"/>
              <a:gd name="connsiteX7" fmla="*/ 487785 w 841917"/>
              <a:gd name="connsiteY7" fmla="*/ 1666 h 144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1917" h="1442188">
                <a:moveTo>
                  <a:pt x="489619" y="0"/>
                </a:moveTo>
                <a:lnTo>
                  <a:pt x="495017" y="2930"/>
                </a:lnTo>
                <a:cubicBezTo>
                  <a:pt x="704312" y="144327"/>
                  <a:pt x="841917" y="383780"/>
                  <a:pt x="841917" y="655371"/>
                </a:cubicBezTo>
                <a:cubicBezTo>
                  <a:pt x="841917" y="1089918"/>
                  <a:pt x="489647" y="1442188"/>
                  <a:pt x="55100" y="1442188"/>
                </a:cubicBezTo>
                <a:lnTo>
                  <a:pt x="22484" y="1440541"/>
                </a:lnTo>
                <a:lnTo>
                  <a:pt x="8599" y="1349562"/>
                </a:lnTo>
                <a:cubicBezTo>
                  <a:pt x="2913" y="1293576"/>
                  <a:pt x="0" y="1236770"/>
                  <a:pt x="0" y="1179284"/>
                </a:cubicBezTo>
                <a:cubicBezTo>
                  <a:pt x="0" y="719396"/>
                  <a:pt x="186407" y="303045"/>
                  <a:pt x="487785" y="1666"/>
                </a:cubicBezTo>
                <a:close/>
              </a:path>
            </a:pathLst>
          </a:custGeom>
          <a:solidFill>
            <a:schemeClr val="accent5"/>
          </a:solidFill>
          <a:ln w="12700">
            <a:miter lim="400000"/>
          </a:ln>
        </p:spPr>
        <p:txBody>
          <a:bodyPr wrap="square" lIns="38100" tIns="9144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000" b="1" dirty="0">
                <a:solidFill>
                  <a:schemeClr val="tx1">
                    <a:lumMod val="85000"/>
                    <a:lumOff val="15000"/>
                  </a:schemeClr>
                </a:solidFill>
              </a:rPr>
              <a:t>05</a:t>
            </a:r>
          </a:p>
        </p:txBody>
      </p:sp>
      <p:sp>
        <p:nvSpPr>
          <p:cNvPr id="6" name="Freeform: Shape 10">
            <a:extLst>
              <a:ext uri="{FF2B5EF4-FFF2-40B4-BE49-F238E27FC236}">
                <a16:creationId xmlns:a16="http://schemas.microsoft.com/office/drawing/2014/main" id="{57527C5F-4DAB-4D43-8B64-035AF2C141C8}"/>
              </a:ext>
            </a:extLst>
          </p:cNvPr>
          <p:cNvSpPr/>
          <p:nvPr/>
        </p:nvSpPr>
        <p:spPr>
          <a:xfrm>
            <a:off x="5172102" y="2383647"/>
            <a:ext cx="1509357" cy="758354"/>
          </a:xfrm>
          <a:custGeom>
            <a:avLst/>
            <a:gdLst>
              <a:gd name="connsiteX0" fmla="*/ 754678 w 1509357"/>
              <a:gd name="connsiteY0" fmla="*/ 0 h 758354"/>
              <a:gd name="connsiteX1" fmla="*/ 1402928 w 1509357"/>
              <a:gd name="connsiteY1" fmla="*/ 130876 h 758354"/>
              <a:gd name="connsiteX2" fmla="*/ 1509357 w 1509357"/>
              <a:gd name="connsiteY2" fmla="*/ 182145 h 758354"/>
              <a:gd name="connsiteX3" fmla="*/ 1479663 w 1509357"/>
              <a:gd name="connsiteY3" fmla="*/ 277802 h 758354"/>
              <a:gd name="connsiteX4" fmla="*/ 754678 w 1509357"/>
              <a:gd name="connsiteY4" fmla="*/ 758354 h 758354"/>
              <a:gd name="connsiteX5" fmla="*/ 29693 w 1509357"/>
              <a:gd name="connsiteY5" fmla="*/ 277802 h 758354"/>
              <a:gd name="connsiteX6" fmla="*/ 0 w 1509357"/>
              <a:gd name="connsiteY6" fmla="*/ 182145 h 758354"/>
              <a:gd name="connsiteX7" fmla="*/ 106428 w 1509357"/>
              <a:gd name="connsiteY7" fmla="*/ 130876 h 758354"/>
              <a:gd name="connsiteX8" fmla="*/ 754678 w 1509357"/>
              <a:gd name="connsiteY8" fmla="*/ 0 h 758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9357" h="758354">
                <a:moveTo>
                  <a:pt x="754678" y="0"/>
                </a:moveTo>
                <a:cubicBezTo>
                  <a:pt x="984623" y="0"/>
                  <a:pt x="1203682" y="46602"/>
                  <a:pt x="1402928" y="130876"/>
                </a:cubicBezTo>
                <a:lnTo>
                  <a:pt x="1509357" y="182145"/>
                </a:lnTo>
                <a:lnTo>
                  <a:pt x="1479663" y="277802"/>
                </a:lnTo>
                <a:cubicBezTo>
                  <a:pt x="1360218" y="560202"/>
                  <a:pt x="1080588" y="758354"/>
                  <a:pt x="754678" y="758354"/>
                </a:cubicBezTo>
                <a:cubicBezTo>
                  <a:pt x="428768" y="758354"/>
                  <a:pt x="149139" y="560202"/>
                  <a:pt x="29693" y="277802"/>
                </a:cubicBezTo>
                <a:lnTo>
                  <a:pt x="0" y="182145"/>
                </a:lnTo>
                <a:lnTo>
                  <a:pt x="106428" y="130876"/>
                </a:lnTo>
                <a:cubicBezTo>
                  <a:pt x="305674" y="46602"/>
                  <a:pt x="524734" y="0"/>
                  <a:pt x="754678" y="0"/>
                </a:cubicBezTo>
                <a:close/>
              </a:path>
            </a:pathLst>
          </a:custGeom>
          <a:solidFill>
            <a:schemeClr val="accent2"/>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000" b="1" dirty="0">
                <a:solidFill>
                  <a:schemeClr val="tx1">
                    <a:lumMod val="85000"/>
                    <a:lumOff val="15000"/>
                  </a:schemeClr>
                </a:solidFill>
              </a:rPr>
              <a:t>01</a:t>
            </a:r>
          </a:p>
        </p:txBody>
      </p:sp>
      <p:sp>
        <p:nvSpPr>
          <p:cNvPr id="7" name="Freeform: Shape 11">
            <a:extLst>
              <a:ext uri="{FF2B5EF4-FFF2-40B4-BE49-F238E27FC236}">
                <a16:creationId xmlns:a16="http://schemas.microsoft.com/office/drawing/2014/main" id="{88F2E44F-6A93-5126-1B37-D0B9CB6469F4}"/>
              </a:ext>
            </a:extLst>
          </p:cNvPr>
          <p:cNvSpPr/>
          <p:nvPr/>
        </p:nvSpPr>
        <p:spPr>
          <a:xfrm>
            <a:off x="6750268" y="2869768"/>
            <a:ext cx="841915" cy="1442187"/>
          </a:xfrm>
          <a:custGeom>
            <a:avLst/>
            <a:gdLst>
              <a:gd name="connsiteX0" fmla="*/ 352298 w 841915"/>
              <a:gd name="connsiteY0" fmla="*/ 0 h 1442187"/>
              <a:gd name="connsiteX1" fmla="*/ 354130 w 841915"/>
              <a:gd name="connsiteY1" fmla="*/ 1665 h 1442187"/>
              <a:gd name="connsiteX2" fmla="*/ 841915 w 841915"/>
              <a:gd name="connsiteY2" fmla="*/ 1179283 h 1442187"/>
              <a:gd name="connsiteX3" fmla="*/ 833317 w 841915"/>
              <a:gd name="connsiteY3" fmla="*/ 1349561 h 1442187"/>
              <a:gd name="connsiteX4" fmla="*/ 819432 w 841915"/>
              <a:gd name="connsiteY4" fmla="*/ 1440540 h 1442187"/>
              <a:gd name="connsiteX5" fmla="*/ 786817 w 841915"/>
              <a:gd name="connsiteY5" fmla="*/ 1442187 h 1442187"/>
              <a:gd name="connsiteX6" fmla="*/ 0 w 841915"/>
              <a:gd name="connsiteY6" fmla="*/ 655370 h 1442187"/>
              <a:gd name="connsiteX7" fmla="*/ 346901 w 841915"/>
              <a:gd name="connsiteY7" fmla="*/ 2929 h 144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1915" h="1442187">
                <a:moveTo>
                  <a:pt x="352298" y="0"/>
                </a:moveTo>
                <a:lnTo>
                  <a:pt x="354130" y="1665"/>
                </a:lnTo>
                <a:cubicBezTo>
                  <a:pt x="655509" y="303044"/>
                  <a:pt x="841915" y="719395"/>
                  <a:pt x="841915" y="1179283"/>
                </a:cubicBezTo>
                <a:cubicBezTo>
                  <a:pt x="841915" y="1236769"/>
                  <a:pt x="839003" y="1293575"/>
                  <a:pt x="833317" y="1349561"/>
                </a:cubicBezTo>
                <a:lnTo>
                  <a:pt x="819432" y="1440540"/>
                </a:lnTo>
                <a:lnTo>
                  <a:pt x="786817" y="1442187"/>
                </a:lnTo>
                <a:cubicBezTo>
                  <a:pt x="352271" y="1442187"/>
                  <a:pt x="0" y="1089917"/>
                  <a:pt x="0" y="655370"/>
                </a:cubicBezTo>
                <a:cubicBezTo>
                  <a:pt x="0" y="383779"/>
                  <a:pt x="137606" y="144326"/>
                  <a:pt x="346901" y="2929"/>
                </a:cubicBezTo>
                <a:close/>
              </a:path>
            </a:pathLst>
          </a:custGeom>
          <a:solidFill>
            <a:schemeClr val="accent1"/>
          </a:solidFill>
          <a:ln w="12700">
            <a:miter lim="400000"/>
          </a:ln>
        </p:spPr>
        <p:txBody>
          <a:bodyPr wrap="square" lIns="38100" tIns="9144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000" b="1" dirty="0">
                <a:solidFill>
                  <a:srgbClr val="FFFFFF"/>
                </a:solidFill>
              </a:rPr>
              <a:t>02</a:t>
            </a:r>
          </a:p>
        </p:txBody>
      </p:sp>
      <p:sp>
        <p:nvSpPr>
          <p:cNvPr id="8" name="Freeform: Shape 12">
            <a:extLst>
              <a:ext uri="{FF2B5EF4-FFF2-40B4-BE49-F238E27FC236}">
                <a16:creationId xmlns:a16="http://schemas.microsoft.com/office/drawing/2014/main" id="{C0A4277D-631F-29D5-E284-FF4DE8973DB3}"/>
              </a:ext>
            </a:extLst>
          </p:cNvPr>
          <p:cNvSpPr/>
          <p:nvPr/>
        </p:nvSpPr>
        <p:spPr>
          <a:xfrm>
            <a:off x="6135185" y="4631347"/>
            <a:ext cx="1274268" cy="1060783"/>
          </a:xfrm>
          <a:custGeom>
            <a:avLst/>
            <a:gdLst>
              <a:gd name="connsiteX0" fmla="*/ 786817 w 1274268"/>
              <a:gd name="connsiteY0" fmla="*/ 0 h 1060783"/>
              <a:gd name="connsiteX1" fmla="*/ 1226734 w 1274268"/>
              <a:gd name="connsiteY1" fmla="*/ 134376 h 1060783"/>
              <a:gd name="connsiteX2" fmla="*/ 1274268 w 1274268"/>
              <a:gd name="connsiteY2" fmla="*/ 173596 h 1060783"/>
              <a:gd name="connsiteX3" fmla="*/ 1255992 w 1274268"/>
              <a:gd name="connsiteY3" fmla="*/ 211534 h 1060783"/>
              <a:gd name="connsiteX4" fmla="*/ 127231 w 1274268"/>
              <a:gd name="connsiteY4" fmla="*/ 1049272 h 1060783"/>
              <a:gd name="connsiteX5" fmla="*/ 51806 w 1274268"/>
              <a:gd name="connsiteY5" fmla="*/ 1060783 h 1060783"/>
              <a:gd name="connsiteX6" fmla="*/ 15986 w 1274268"/>
              <a:gd name="connsiteY6" fmla="*/ 945388 h 1060783"/>
              <a:gd name="connsiteX7" fmla="*/ 0 w 1274268"/>
              <a:gd name="connsiteY7" fmla="*/ 786817 h 1060783"/>
              <a:gd name="connsiteX8" fmla="*/ 786817 w 1274268"/>
              <a:gd name="connsiteY8" fmla="*/ 0 h 1060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4268" h="1060783">
                <a:moveTo>
                  <a:pt x="786817" y="0"/>
                </a:moveTo>
                <a:cubicBezTo>
                  <a:pt x="949772" y="0"/>
                  <a:pt x="1101157" y="49538"/>
                  <a:pt x="1226734" y="134376"/>
                </a:cubicBezTo>
                <a:lnTo>
                  <a:pt x="1274268" y="173596"/>
                </a:lnTo>
                <a:lnTo>
                  <a:pt x="1255992" y="211534"/>
                </a:lnTo>
                <a:cubicBezTo>
                  <a:pt x="1025250" y="636292"/>
                  <a:pt x="615093" y="949441"/>
                  <a:pt x="127231" y="1049272"/>
                </a:cubicBezTo>
                <a:lnTo>
                  <a:pt x="51806" y="1060783"/>
                </a:lnTo>
                <a:lnTo>
                  <a:pt x="15986" y="945388"/>
                </a:lnTo>
                <a:cubicBezTo>
                  <a:pt x="5504" y="894168"/>
                  <a:pt x="0" y="841136"/>
                  <a:pt x="0" y="786817"/>
                </a:cubicBezTo>
                <a:cubicBezTo>
                  <a:pt x="0" y="352271"/>
                  <a:pt x="352271" y="0"/>
                  <a:pt x="786817" y="0"/>
                </a:cubicBezTo>
                <a:close/>
              </a:path>
            </a:pathLst>
          </a:custGeom>
          <a:solidFill>
            <a:schemeClr val="accent3"/>
          </a:solidFill>
          <a:ln w="12700">
            <a:miter lim="400000"/>
          </a:ln>
        </p:spPr>
        <p:txBody>
          <a:bodyPr wrap="square" lIns="38100" tIns="38100" rIns="27432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000" b="1" dirty="0">
                <a:solidFill>
                  <a:schemeClr val="tx1">
                    <a:lumMod val="85000"/>
                    <a:lumOff val="15000"/>
                  </a:schemeClr>
                </a:solidFill>
              </a:rPr>
              <a:t>03</a:t>
            </a:r>
          </a:p>
        </p:txBody>
      </p:sp>
      <p:sp>
        <p:nvSpPr>
          <p:cNvPr id="38" name="TextBox 32">
            <a:extLst>
              <a:ext uri="{FF2B5EF4-FFF2-40B4-BE49-F238E27FC236}">
                <a16:creationId xmlns:a16="http://schemas.microsoft.com/office/drawing/2014/main" id="{8BD42101-4136-88AE-164E-A4537788C358}"/>
              </a:ext>
            </a:extLst>
          </p:cNvPr>
          <p:cNvSpPr txBox="1"/>
          <p:nvPr/>
        </p:nvSpPr>
        <p:spPr>
          <a:xfrm>
            <a:off x="320764" y="3090988"/>
            <a:ext cx="2926080" cy="646331"/>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dirty="0">
                <a:solidFill>
                  <a:prstClr val="white"/>
                </a:solidFill>
                <a:latin typeface="Darker Grotesque" pitchFamily="2" charset="0"/>
              </a:rPr>
              <a:t>Proposer une expérience utilisateur fluide</a:t>
            </a:r>
            <a:endParaRPr lang="en-US" dirty="0">
              <a:solidFill>
                <a:prstClr val="white"/>
              </a:solidFill>
              <a:latin typeface="Darker Grotesque" pitchFamily="2" charset="0"/>
            </a:endParaRPr>
          </a:p>
        </p:txBody>
      </p:sp>
      <p:sp>
        <p:nvSpPr>
          <p:cNvPr id="34" name="TextBox 35">
            <a:extLst>
              <a:ext uri="{FF2B5EF4-FFF2-40B4-BE49-F238E27FC236}">
                <a16:creationId xmlns:a16="http://schemas.microsoft.com/office/drawing/2014/main" id="{9F945B3F-5099-5AD9-FA4A-08C27A2C8AE4}"/>
              </a:ext>
            </a:extLst>
          </p:cNvPr>
          <p:cNvSpPr txBox="1"/>
          <p:nvPr/>
        </p:nvSpPr>
        <p:spPr>
          <a:xfrm>
            <a:off x="581527" y="5418164"/>
            <a:ext cx="2926080" cy="36933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dirty="0">
                <a:solidFill>
                  <a:prstClr val="white"/>
                </a:solidFill>
                <a:latin typeface="Darker Grotesque" pitchFamily="2" charset="0"/>
              </a:rPr>
              <a:t>Valoriser du tourisme local</a:t>
            </a:r>
            <a:endParaRPr lang="en-US" dirty="0">
              <a:solidFill>
                <a:prstClr val="white"/>
              </a:solidFill>
              <a:latin typeface="Darker Grotesque" pitchFamily="2" charset="0"/>
            </a:endParaRPr>
          </a:p>
        </p:txBody>
      </p:sp>
      <p:sp>
        <p:nvSpPr>
          <p:cNvPr id="32" name="TextBox 26">
            <a:extLst>
              <a:ext uri="{FF2B5EF4-FFF2-40B4-BE49-F238E27FC236}">
                <a16:creationId xmlns:a16="http://schemas.microsoft.com/office/drawing/2014/main" id="{32DEAE86-2BCD-625C-248F-764300A18435}"/>
              </a:ext>
            </a:extLst>
          </p:cNvPr>
          <p:cNvSpPr txBox="1"/>
          <p:nvPr/>
        </p:nvSpPr>
        <p:spPr>
          <a:xfrm>
            <a:off x="8862230" y="3201972"/>
            <a:ext cx="2926080" cy="646331"/>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dirty="0">
                <a:solidFill>
                  <a:prstClr val="white"/>
                </a:solidFill>
                <a:latin typeface="Darker Grotesque" pitchFamily="2" charset="0"/>
              </a:rPr>
              <a:t>Optimiser la visibilité des prestataires locaux</a:t>
            </a:r>
            <a:endParaRPr lang="en-US" noProof="1">
              <a:solidFill>
                <a:prstClr val="white"/>
              </a:solidFill>
              <a:latin typeface="Darker Grotesque" pitchFamily="2" charset="0"/>
            </a:endParaRPr>
          </a:p>
        </p:txBody>
      </p:sp>
      <p:sp>
        <p:nvSpPr>
          <p:cNvPr id="29" name="TextBox 29">
            <a:extLst>
              <a:ext uri="{FF2B5EF4-FFF2-40B4-BE49-F238E27FC236}">
                <a16:creationId xmlns:a16="http://schemas.microsoft.com/office/drawing/2014/main" id="{9879E6EB-6A28-37DF-7DB0-D846A8EAEFEB}"/>
              </a:ext>
            </a:extLst>
          </p:cNvPr>
          <p:cNvSpPr txBox="1"/>
          <p:nvPr/>
        </p:nvSpPr>
        <p:spPr>
          <a:xfrm>
            <a:off x="8684393" y="5188952"/>
            <a:ext cx="2926080" cy="646331"/>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dirty="0">
                <a:solidFill>
                  <a:prstClr val="white"/>
                </a:solidFill>
                <a:latin typeface="Darker Grotesque" pitchFamily="2" charset="0"/>
              </a:rPr>
              <a:t>Valoriser le secteur balnéaire tunisien</a:t>
            </a:r>
            <a:endParaRPr lang="en-US" noProof="1">
              <a:solidFill>
                <a:prstClr val="white"/>
              </a:solidFill>
              <a:latin typeface="Darker Grotesque" pitchFamily="2" charset="0"/>
            </a:endParaRPr>
          </a:p>
        </p:txBody>
      </p:sp>
      <p:sp>
        <p:nvSpPr>
          <p:cNvPr id="24" name="TextBox 38">
            <a:extLst>
              <a:ext uri="{FF2B5EF4-FFF2-40B4-BE49-F238E27FC236}">
                <a16:creationId xmlns:a16="http://schemas.microsoft.com/office/drawing/2014/main" id="{9AB8D419-5D27-0486-8265-7FEA22343AE0}"/>
              </a:ext>
            </a:extLst>
          </p:cNvPr>
          <p:cNvSpPr txBox="1"/>
          <p:nvPr/>
        </p:nvSpPr>
        <p:spPr>
          <a:xfrm>
            <a:off x="6816151" y="1529228"/>
            <a:ext cx="2718141" cy="646331"/>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dirty="0">
                <a:solidFill>
                  <a:prstClr val="white"/>
                </a:solidFill>
                <a:latin typeface="Darker Grotesque" pitchFamily="2" charset="0"/>
              </a:rPr>
              <a:t>Digitaliser le service balnéaire en Tunisie</a:t>
            </a:r>
            <a:endParaRPr lang="en-US" noProof="1">
              <a:solidFill>
                <a:prstClr val="white"/>
              </a:solidFill>
              <a:latin typeface="Darker Grotesque" pitchFamily="2" charset="0"/>
            </a:endParaRPr>
          </a:p>
        </p:txBody>
      </p:sp>
      <p:pic>
        <p:nvPicPr>
          <p:cNvPr id="14" name="Graphic 45" descr="Rocket with solid fill">
            <a:extLst>
              <a:ext uri="{FF2B5EF4-FFF2-40B4-BE49-F238E27FC236}">
                <a16:creationId xmlns:a16="http://schemas.microsoft.com/office/drawing/2014/main" id="{1BF9FA19-A8F2-DFD0-A36F-8B06E2EF723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76395" y="3117764"/>
            <a:ext cx="640080" cy="640080"/>
          </a:xfrm>
          <a:prstGeom prst="rect">
            <a:avLst/>
          </a:prstGeom>
        </p:spPr>
      </p:pic>
      <p:pic>
        <p:nvPicPr>
          <p:cNvPr id="17" name="Graphic 46" descr="Bar chart with solid fill">
            <a:extLst>
              <a:ext uri="{FF2B5EF4-FFF2-40B4-BE49-F238E27FC236}">
                <a16:creationId xmlns:a16="http://schemas.microsoft.com/office/drawing/2014/main" id="{7A8240F3-54C5-410D-6E84-7071EDF8D0D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41161" y="5367237"/>
            <a:ext cx="640080" cy="640080"/>
          </a:xfrm>
          <a:prstGeom prst="rect">
            <a:avLst/>
          </a:prstGeom>
        </p:spPr>
      </p:pic>
      <p:pic>
        <p:nvPicPr>
          <p:cNvPr id="18" name="Graphic 47" descr="Gears with solid fill">
            <a:extLst>
              <a:ext uri="{FF2B5EF4-FFF2-40B4-BE49-F238E27FC236}">
                <a16:creationId xmlns:a16="http://schemas.microsoft.com/office/drawing/2014/main" id="{C9DCE43F-CBA6-6D70-DA7D-08726DAF983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93012" y="5367237"/>
            <a:ext cx="640080" cy="640080"/>
          </a:xfrm>
          <a:prstGeom prst="rect">
            <a:avLst/>
          </a:prstGeom>
        </p:spPr>
      </p:pic>
      <p:pic>
        <p:nvPicPr>
          <p:cNvPr id="19" name="Graphic 48" descr="Lightbulb with solid fill">
            <a:extLst>
              <a:ext uri="{FF2B5EF4-FFF2-40B4-BE49-F238E27FC236}">
                <a16:creationId xmlns:a16="http://schemas.microsoft.com/office/drawing/2014/main" id="{552D1A9B-E20F-933C-F1DC-7737BD581BF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535142" y="3117764"/>
            <a:ext cx="640080" cy="640080"/>
          </a:xfrm>
          <a:prstGeom prst="rect">
            <a:avLst/>
          </a:prstGeom>
        </p:spPr>
      </p:pic>
      <p:pic>
        <p:nvPicPr>
          <p:cNvPr id="20" name="Graphic 49" descr="Bullseye with solid fill">
            <a:extLst>
              <a:ext uri="{FF2B5EF4-FFF2-40B4-BE49-F238E27FC236}">
                <a16:creationId xmlns:a16="http://schemas.microsoft.com/office/drawing/2014/main" id="{35E7F6FA-A91F-1D40-6FCC-7F5ABFDC606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606739" y="1679198"/>
            <a:ext cx="640080" cy="640080"/>
          </a:xfrm>
          <a:prstGeom prst="rect">
            <a:avLst/>
          </a:prstGeom>
        </p:spPr>
      </p:pic>
      <p:sp>
        <p:nvSpPr>
          <p:cNvPr id="9" name="Rectangle 8">
            <a:extLst>
              <a:ext uri="{FF2B5EF4-FFF2-40B4-BE49-F238E27FC236}">
                <a16:creationId xmlns:a16="http://schemas.microsoft.com/office/drawing/2014/main" id="{8922A1BC-716F-4B90-AF4D-084B3F2A8DBB}"/>
              </a:ext>
            </a:extLst>
          </p:cNvPr>
          <p:cNvSpPr/>
          <p:nvPr/>
        </p:nvSpPr>
        <p:spPr>
          <a:xfrm>
            <a:off x="11605430" y="6169998"/>
            <a:ext cx="365760" cy="646331"/>
          </a:xfrm>
          <a:prstGeom prst="rect">
            <a:avLst/>
          </a:prstGeom>
        </p:spPr>
        <p:txBody>
          <a:bodyPr wrap="square">
            <a:spAutoFit/>
          </a:bodyPr>
          <a:lstStyle/>
          <a:p>
            <a:r>
              <a:rPr lang="en-US" sz="36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3</a:t>
            </a:r>
            <a:endParaRPr lang="fr-TN" sz="3600" dirty="0"/>
          </a:p>
        </p:txBody>
      </p:sp>
    </p:spTree>
    <p:extLst>
      <p:ext uri="{BB962C8B-B14F-4D97-AF65-F5344CB8AC3E}">
        <p14:creationId xmlns:p14="http://schemas.microsoft.com/office/powerpoint/2010/main" val="4968839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up)">
                                      <p:cBhvr>
                                        <p:cTn id="10" dur="500"/>
                                        <p:tgtEl>
                                          <p:spTgt spid="4"/>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up)">
                                      <p:cBhvr>
                                        <p:cTn id="13" dur="500"/>
                                        <p:tgtEl>
                                          <p:spTgt spid="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up)">
                                      <p:cBhvr>
                                        <p:cTn id="16" dur="500"/>
                                        <p:tgtEl>
                                          <p:spTgt spid="6"/>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wipe(up)">
                                      <p:cBhvr>
                                        <p:cTn id="19" dur="500"/>
                                        <p:tgtEl>
                                          <p:spTgt spid="7"/>
                                        </p:tgtEl>
                                      </p:cBhvr>
                                    </p:animEffect>
                                  </p:childTnLst>
                                </p:cTn>
                              </p:par>
                              <p:par>
                                <p:cTn id="20" presetID="22" presetClass="entr" presetSubtype="1"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wipe(up)">
                                      <p:cBhvr>
                                        <p:cTn id="22" dur="500"/>
                                        <p:tgtEl>
                                          <p:spTgt spid="8"/>
                                        </p:tgtEl>
                                      </p:cBhvr>
                                    </p:animEffect>
                                  </p:childTnLst>
                                </p:cTn>
                              </p:par>
                              <p:par>
                                <p:cTn id="23" presetID="22" presetClass="entr" presetSubtype="1" fill="hold" grpId="0" nodeType="withEffect">
                                  <p:stCondLst>
                                    <p:cond delay="0"/>
                                  </p:stCondLst>
                                  <p:childTnLst>
                                    <p:set>
                                      <p:cBhvr>
                                        <p:cTn id="24" dur="1" fill="hold">
                                          <p:stCondLst>
                                            <p:cond delay="0"/>
                                          </p:stCondLst>
                                        </p:cTn>
                                        <p:tgtEl>
                                          <p:spTgt spid="38"/>
                                        </p:tgtEl>
                                        <p:attrNameLst>
                                          <p:attrName>style.visibility</p:attrName>
                                        </p:attrNameLst>
                                      </p:cBhvr>
                                      <p:to>
                                        <p:strVal val="visible"/>
                                      </p:to>
                                    </p:set>
                                    <p:animEffect transition="in" filter="wipe(up)">
                                      <p:cBhvr>
                                        <p:cTn id="25" dur="500"/>
                                        <p:tgtEl>
                                          <p:spTgt spid="38"/>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34"/>
                                        </p:tgtEl>
                                        <p:attrNameLst>
                                          <p:attrName>style.visibility</p:attrName>
                                        </p:attrNameLst>
                                      </p:cBhvr>
                                      <p:to>
                                        <p:strVal val="visible"/>
                                      </p:to>
                                    </p:set>
                                    <p:animEffect transition="in" filter="wipe(up)">
                                      <p:cBhvr>
                                        <p:cTn id="28" dur="500"/>
                                        <p:tgtEl>
                                          <p:spTgt spid="34"/>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wipe(up)">
                                      <p:cBhvr>
                                        <p:cTn id="31" dur="500"/>
                                        <p:tgtEl>
                                          <p:spTgt spid="32"/>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wipe(up)">
                                      <p:cBhvr>
                                        <p:cTn id="34" dur="500"/>
                                        <p:tgtEl>
                                          <p:spTgt spid="29"/>
                                        </p:tgtEl>
                                      </p:cBhvr>
                                    </p:animEffect>
                                  </p:childTnLst>
                                </p:cTn>
                              </p:par>
                              <p:par>
                                <p:cTn id="35" presetID="22" presetClass="entr" presetSubtype="1" fill="hold" grpId="0" nodeType="with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wipe(up)">
                                      <p:cBhvr>
                                        <p:cTn id="37" dur="500"/>
                                        <p:tgtEl>
                                          <p:spTgt spid="24"/>
                                        </p:tgtEl>
                                      </p:cBhvr>
                                    </p:animEffect>
                                  </p:childTnLst>
                                </p:cTn>
                              </p:par>
                              <p:par>
                                <p:cTn id="38" presetID="22" presetClass="entr" presetSubtype="1" fill="hold" nodeType="with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wipe(up)">
                                      <p:cBhvr>
                                        <p:cTn id="40" dur="500"/>
                                        <p:tgtEl>
                                          <p:spTgt spid="14"/>
                                        </p:tgtEl>
                                      </p:cBhvr>
                                    </p:animEffect>
                                  </p:childTnLst>
                                </p:cTn>
                              </p:par>
                              <p:par>
                                <p:cTn id="41" presetID="22" presetClass="entr" presetSubtype="1" fill="hold" nodeType="with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wipe(up)">
                                      <p:cBhvr>
                                        <p:cTn id="43" dur="500"/>
                                        <p:tgtEl>
                                          <p:spTgt spid="17"/>
                                        </p:tgtEl>
                                      </p:cBhvr>
                                    </p:animEffect>
                                  </p:childTnLst>
                                </p:cTn>
                              </p:par>
                              <p:par>
                                <p:cTn id="44" presetID="22" presetClass="entr" presetSubtype="1" fill="hold" nodeType="withEffect">
                                  <p:stCondLst>
                                    <p:cond delay="0"/>
                                  </p:stCondLst>
                                  <p:childTnLst>
                                    <p:set>
                                      <p:cBhvr>
                                        <p:cTn id="45" dur="1" fill="hold">
                                          <p:stCondLst>
                                            <p:cond delay="0"/>
                                          </p:stCondLst>
                                        </p:cTn>
                                        <p:tgtEl>
                                          <p:spTgt spid="18"/>
                                        </p:tgtEl>
                                        <p:attrNameLst>
                                          <p:attrName>style.visibility</p:attrName>
                                        </p:attrNameLst>
                                      </p:cBhvr>
                                      <p:to>
                                        <p:strVal val="visible"/>
                                      </p:to>
                                    </p:set>
                                    <p:animEffect transition="in" filter="wipe(up)">
                                      <p:cBhvr>
                                        <p:cTn id="46" dur="500"/>
                                        <p:tgtEl>
                                          <p:spTgt spid="18"/>
                                        </p:tgtEl>
                                      </p:cBhvr>
                                    </p:animEffect>
                                  </p:childTnLst>
                                </p:cTn>
                              </p:par>
                              <p:par>
                                <p:cTn id="47" presetID="22" presetClass="entr" presetSubtype="1" fill="hold" nodeType="withEffect">
                                  <p:stCondLst>
                                    <p:cond delay="0"/>
                                  </p:stCondLst>
                                  <p:childTnLst>
                                    <p:set>
                                      <p:cBhvr>
                                        <p:cTn id="48" dur="1" fill="hold">
                                          <p:stCondLst>
                                            <p:cond delay="0"/>
                                          </p:stCondLst>
                                        </p:cTn>
                                        <p:tgtEl>
                                          <p:spTgt spid="19"/>
                                        </p:tgtEl>
                                        <p:attrNameLst>
                                          <p:attrName>style.visibility</p:attrName>
                                        </p:attrNameLst>
                                      </p:cBhvr>
                                      <p:to>
                                        <p:strVal val="visible"/>
                                      </p:to>
                                    </p:set>
                                    <p:animEffect transition="in" filter="wipe(up)">
                                      <p:cBhvr>
                                        <p:cTn id="49" dur="500"/>
                                        <p:tgtEl>
                                          <p:spTgt spid="19"/>
                                        </p:tgtEl>
                                      </p:cBhvr>
                                    </p:animEffect>
                                  </p:childTnLst>
                                </p:cTn>
                              </p:par>
                              <p:par>
                                <p:cTn id="50" presetID="22" presetClass="entr" presetSubtype="1" fill="hold" nodeType="with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wipe(up)">
                                      <p:cBhvr>
                                        <p:cTn id="5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38" grpId="0"/>
      <p:bldP spid="34" grpId="0"/>
      <p:bldP spid="32" grpId="0"/>
      <p:bldP spid="29" grpId="0"/>
      <p:bldP spid="2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Box 34">
            <a:extLst>
              <a:ext uri="{FF2B5EF4-FFF2-40B4-BE49-F238E27FC236}">
                <a16:creationId xmlns:a16="http://schemas.microsoft.com/office/drawing/2014/main" id="{A15D12A3-2893-C5F1-7621-D44C7B9A4F1A}"/>
              </a:ext>
            </a:extLst>
          </p:cNvPr>
          <p:cNvSpPr txBox="1"/>
          <p:nvPr/>
        </p:nvSpPr>
        <p:spPr>
          <a:xfrm>
            <a:off x="1219124" y="1459743"/>
            <a:ext cx="9867006" cy="1833707"/>
          </a:xfrm>
          <a:prstGeom prst="rect">
            <a:avLst/>
          </a:prstGeom>
          <a:noFill/>
        </p:spPr>
        <p:txBody>
          <a:bodyPr wrap="square" rtlCol="0">
            <a:spAutoFit/>
          </a:bodyPr>
          <a:lstStyle/>
          <a:p>
            <a:pPr lvl="0" algn="ctr">
              <a:lnSpc>
                <a:spcPct val="80000"/>
              </a:lnSpc>
              <a:defRPr/>
            </a:pPr>
            <a:r>
              <a:rPr lang="fr-FR" sz="13800" kern="0" dirty="0">
                <a:solidFill>
                  <a:prstClr val="white"/>
                </a:solidFill>
                <a:latin typeface="Darker Grotesque" pitchFamily="2" charset="0"/>
              </a:rPr>
              <a:t>ODD</a:t>
            </a:r>
            <a:endParaRPr lang="en-US" sz="13800" kern="0" dirty="0">
              <a:solidFill>
                <a:prstClr val="white"/>
              </a:solidFill>
              <a:latin typeface="Darker Grotesque" pitchFamily="2" charset="0"/>
            </a:endParaRPr>
          </a:p>
        </p:txBody>
      </p:sp>
      <p:sp>
        <p:nvSpPr>
          <p:cNvPr id="33" name="TextBox 35">
            <a:extLst>
              <a:ext uri="{FF2B5EF4-FFF2-40B4-BE49-F238E27FC236}">
                <a16:creationId xmlns:a16="http://schemas.microsoft.com/office/drawing/2014/main" id="{ABF55CDA-B0B0-60CE-E5CE-FE4BBFD537EB}"/>
              </a:ext>
            </a:extLst>
          </p:cNvPr>
          <p:cNvSpPr txBox="1"/>
          <p:nvPr/>
        </p:nvSpPr>
        <p:spPr>
          <a:xfrm>
            <a:off x="2535767" y="3451078"/>
            <a:ext cx="7120466" cy="1833707"/>
          </a:xfrm>
          <a:prstGeom prst="rect">
            <a:avLst/>
          </a:prstGeom>
          <a:noFill/>
        </p:spPr>
        <p:txBody>
          <a:bodyPr wrap="square" rtlCol="0">
            <a:spAutoFit/>
          </a:bodyPr>
          <a:lstStyle/>
          <a:p>
            <a:pPr lvl="0" algn="ctr">
              <a:lnSpc>
                <a:spcPct val="80000"/>
              </a:lnSpc>
              <a:defRPr/>
            </a:pPr>
            <a:r>
              <a:rPr lang="fr-FR" sz="13800" kern="0" dirty="0">
                <a:solidFill>
                  <a:prstClr val="white"/>
                </a:solidFill>
                <a:latin typeface="Darker Grotesque" pitchFamily="2" charset="0"/>
              </a:rPr>
              <a:t>Touchés</a:t>
            </a:r>
            <a:endParaRPr lang="en-US" sz="13800" kern="0" dirty="0">
              <a:solidFill>
                <a:prstClr val="white"/>
              </a:solidFill>
              <a:latin typeface="Darker Grotesque" pitchFamily="2" charset="0"/>
            </a:endParaRPr>
          </a:p>
        </p:txBody>
      </p:sp>
    </p:spTree>
    <p:extLst>
      <p:ext uri="{BB962C8B-B14F-4D97-AF65-F5344CB8AC3E}">
        <p14:creationId xmlns:p14="http://schemas.microsoft.com/office/powerpoint/2010/main" val="866812648"/>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169558" y="2175808"/>
            <a:ext cx="12192000" cy="2603470"/>
          </a:xfrm>
          <a:prstGeom prst="rect">
            <a:avLst/>
          </a:prstGeom>
          <a:noFill/>
        </p:spPr>
        <p:txBody>
          <a:bodyPr wrap="square" rtlCol="0">
            <a:spAutoFit/>
          </a:bodyPr>
          <a:lstStyle/>
          <a:p>
            <a:pPr lvl="0" algn="ctr">
              <a:lnSpc>
                <a:spcPct val="80000"/>
              </a:lnSpc>
              <a:defRPr/>
            </a:pPr>
            <a:r>
              <a:rPr lang="fr-FR" sz="19900" dirty="0">
                <a:solidFill>
                  <a:schemeClr val="bg1"/>
                </a:solidFill>
              </a:rPr>
              <a:t>Objectifs</a:t>
            </a:r>
            <a:endParaRPr kumimoji="0" lang="en-US" sz="28200" b="0" i="0" u="none" strike="noStrike" kern="0" cap="none" spc="0" normalizeH="0" baseline="0" noProof="0" dirty="0">
              <a:ln>
                <a:noFill/>
              </a:ln>
              <a:solidFill>
                <a:schemeClr val="bg1"/>
              </a:solidFill>
              <a:effectLst/>
              <a:uLnTx/>
              <a:uFillTx/>
              <a:latin typeface="Darker Grotesque" pitchFamily="2" charset="0"/>
            </a:endParaRPr>
          </a:p>
        </p:txBody>
      </p:sp>
    </p:spTree>
    <p:extLst>
      <p:ext uri="{BB962C8B-B14F-4D97-AF65-F5344CB8AC3E}">
        <p14:creationId xmlns:p14="http://schemas.microsoft.com/office/powerpoint/2010/main" val="2212010097"/>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Thesis PPT">
      <a:dk1>
        <a:sysClr val="windowText" lastClr="000000"/>
      </a:dk1>
      <a:lt1>
        <a:sysClr val="window" lastClr="FFFFFF"/>
      </a:lt1>
      <a:dk2>
        <a:srgbClr val="140812"/>
      </a:dk2>
      <a:lt2>
        <a:srgbClr val="D8D9DC"/>
      </a:lt2>
      <a:accent1>
        <a:srgbClr val="00FFB3"/>
      </a:accent1>
      <a:accent2>
        <a:srgbClr val="00F1FF"/>
      </a:accent2>
      <a:accent3>
        <a:srgbClr val="4775E7"/>
      </a:accent3>
      <a:accent4>
        <a:srgbClr val="8730EA"/>
      </a:accent4>
      <a:accent5>
        <a:srgbClr val="FD6364"/>
      </a:accent5>
      <a:accent6>
        <a:srgbClr val="D54773"/>
      </a:accent6>
      <a:hlink>
        <a:srgbClr val="4775E7"/>
      </a:hlink>
      <a:folHlink>
        <a:srgbClr val="8C8C8C"/>
      </a:folHlink>
    </a:clrScheme>
    <a:fontScheme name="Darker Grotesque">
      <a:majorFont>
        <a:latin typeface="Darker Grotesque SemiBold"/>
        <a:ea typeface=""/>
        <a:cs typeface=""/>
      </a:majorFont>
      <a:minorFont>
        <a:latin typeface="Darker Grotesque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9F4134EA-41DA-4B5D-BBC0-D570E955696B}">
  <we:reference id="wa104381411" version="2.4.5.0" store="en-US" storeType="OMEX"/>
  <we:alternateReferences>
    <we:reference id="wa104381411" version="2.4.5.0" store="WA104381411"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4198</TotalTime>
  <Words>3608</Words>
  <Application>Microsoft Office PowerPoint</Application>
  <PresentationFormat>Grand écran</PresentationFormat>
  <Paragraphs>667</Paragraphs>
  <Slides>46</Slides>
  <Notes>40</Notes>
  <HiddenSlides>0</HiddenSlides>
  <MMClips>0</MMClips>
  <ScaleCrop>false</ScaleCrop>
  <HeadingPairs>
    <vt:vector size="6" baseType="variant">
      <vt:variant>
        <vt:lpstr>Polices utilisées</vt:lpstr>
      </vt:variant>
      <vt:variant>
        <vt:i4>16</vt:i4>
      </vt:variant>
      <vt:variant>
        <vt:lpstr>Thème</vt:lpstr>
      </vt:variant>
      <vt:variant>
        <vt:i4>2</vt:i4>
      </vt:variant>
      <vt:variant>
        <vt:lpstr>Titres des diapositives</vt:lpstr>
      </vt:variant>
      <vt:variant>
        <vt:i4>46</vt:i4>
      </vt:variant>
    </vt:vector>
  </HeadingPairs>
  <TitlesOfParts>
    <vt:vector size="64" baseType="lpstr">
      <vt:lpstr>Aptos</vt:lpstr>
      <vt:lpstr>Aptos Display</vt:lpstr>
      <vt:lpstr>Arial</vt:lpstr>
      <vt:lpstr>Arial Rounded MT Bold</vt:lpstr>
      <vt:lpstr>Darker Grotesque</vt:lpstr>
      <vt:lpstr>Darker Grotesque Medium</vt:lpstr>
      <vt:lpstr>Darker Grotesque SemiBold</vt:lpstr>
      <vt:lpstr>DM Sans</vt:lpstr>
      <vt:lpstr>DM Sans Bold</vt:lpstr>
      <vt:lpstr>Fira Sans</vt:lpstr>
      <vt:lpstr>Fira Sans Extra Condensed Medium</vt:lpstr>
      <vt:lpstr>Georgia Pro Light</vt:lpstr>
      <vt:lpstr>Nunito</vt:lpstr>
      <vt:lpstr>Playfair Display</vt:lpstr>
      <vt:lpstr>Roboto</vt:lpstr>
      <vt:lpstr>YAFdJt8dAY0 0</vt:lpstr>
      <vt:lpstr>Office Theme</vt:lpstr>
      <vt:lpstr>1_Office Them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ne Skill</dc:creator>
  <cp:lastModifiedBy>HAMROUN Adem</cp:lastModifiedBy>
  <cp:revision>191</cp:revision>
  <dcterms:created xsi:type="dcterms:W3CDTF">2024-07-26T12:33:19Z</dcterms:created>
  <dcterms:modified xsi:type="dcterms:W3CDTF">2025-06-12T06:27:05Z</dcterms:modified>
</cp:coreProperties>
</file>